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tiff" ContentType="image/tiff"/>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868" r:id="rId5"/>
    <p:sldMasterId id="2147484010" r:id="rId6"/>
    <p:sldMasterId id="2147484038" r:id="rId7"/>
  </p:sldMasterIdLst>
  <p:notesMasterIdLst>
    <p:notesMasterId r:id="rId29"/>
  </p:notesMasterIdLst>
  <p:handoutMasterIdLst>
    <p:handoutMasterId r:id="rId30"/>
  </p:handoutMasterIdLst>
  <p:sldIdLst>
    <p:sldId id="431" r:id="rId8"/>
    <p:sldId id="1281" r:id="rId9"/>
    <p:sldId id="723" r:id="rId10"/>
    <p:sldId id="724" r:id="rId11"/>
    <p:sldId id="695" r:id="rId12"/>
    <p:sldId id="1300" r:id="rId13"/>
    <p:sldId id="725" r:id="rId14"/>
    <p:sldId id="701" r:id="rId15"/>
    <p:sldId id="733" r:id="rId16"/>
    <p:sldId id="707" r:id="rId17"/>
    <p:sldId id="729" r:id="rId18"/>
    <p:sldId id="732" r:id="rId19"/>
    <p:sldId id="728" r:id="rId20"/>
    <p:sldId id="731" r:id="rId21"/>
    <p:sldId id="706" r:id="rId22"/>
    <p:sldId id="736" r:id="rId23"/>
    <p:sldId id="739" r:id="rId24"/>
    <p:sldId id="737" r:id="rId25"/>
    <p:sldId id="738" r:id="rId26"/>
    <p:sldId id="735" r:id="rId27"/>
    <p:sldId id="734" r:id="rId28"/>
  </p:sldIdLst>
  <p:sldSz cx="9144000" cy="5143500" type="screen16x9"/>
  <p:notesSz cx="7077075" cy="9051925"/>
  <p:defaultTextStyle>
    <a:defPPr>
      <a:defRPr lang="en-US"/>
    </a:defPPr>
    <a:lvl1pPr algn="l" rtl="0" fontAlgn="base">
      <a:spcBef>
        <a:spcPct val="0"/>
      </a:spcBef>
      <a:spcAft>
        <a:spcPct val="0"/>
      </a:spcAft>
      <a:defRPr kern="1200">
        <a:solidFill>
          <a:schemeClr val="tx1"/>
        </a:solidFill>
        <a:latin typeface="+mn-lt"/>
        <a:ea typeface="+mn-ea"/>
        <a:cs typeface="+mn-cs"/>
      </a:defRPr>
    </a:lvl1pPr>
    <a:lvl2pPr marL="456835" algn="l" rtl="0" fontAlgn="base">
      <a:spcBef>
        <a:spcPct val="0"/>
      </a:spcBef>
      <a:spcAft>
        <a:spcPct val="0"/>
      </a:spcAft>
      <a:defRPr kern="1200">
        <a:solidFill>
          <a:schemeClr val="tx1"/>
        </a:solidFill>
        <a:latin typeface="+mn-lt"/>
        <a:ea typeface="+mn-ea"/>
        <a:cs typeface="+mn-cs"/>
      </a:defRPr>
    </a:lvl2pPr>
    <a:lvl3pPr marL="913670" algn="l" rtl="0" fontAlgn="base">
      <a:spcBef>
        <a:spcPct val="0"/>
      </a:spcBef>
      <a:spcAft>
        <a:spcPct val="0"/>
      </a:spcAft>
      <a:defRPr kern="1200">
        <a:solidFill>
          <a:schemeClr val="tx1"/>
        </a:solidFill>
        <a:latin typeface="+mn-lt"/>
        <a:ea typeface="+mn-ea"/>
        <a:cs typeface="+mn-cs"/>
      </a:defRPr>
    </a:lvl3pPr>
    <a:lvl4pPr marL="1370505" algn="l" rtl="0" fontAlgn="base">
      <a:spcBef>
        <a:spcPct val="0"/>
      </a:spcBef>
      <a:spcAft>
        <a:spcPct val="0"/>
      </a:spcAft>
      <a:defRPr kern="1200">
        <a:solidFill>
          <a:schemeClr val="tx1"/>
        </a:solidFill>
        <a:latin typeface="+mn-lt"/>
        <a:ea typeface="+mn-ea"/>
        <a:cs typeface="+mn-cs"/>
      </a:defRPr>
    </a:lvl4pPr>
    <a:lvl5pPr marL="1827336" algn="l" rtl="0" fontAlgn="base">
      <a:spcBef>
        <a:spcPct val="0"/>
      </a:spcBef>
      <a:spcAft>
        <a:spcPct val="0"/>
      </a:spcAft>
      <a:defRPr kern="1200">
        <a:solidFill>
          <a:schemeClr val="tx1"/>
        </a:solidFill>
        <a:latin typeface="+mn-lt"/>
        <a:ea typeface="+mn-ea"/>
        <a:cs typeface="+mn-cs"/>
      </a:defRPr>
    </a:lvl5pPr>
    <a:lvl6pPr marL="2284166" algn="l" defTabSz="913670" rtl="0" eaLnBrk="1" latinLnBrk="0" hangingPunct="1">
      <a:defRPr kern="1200">
        <a:solidFill>
          <a:schemeClr val="tx1"/>
        </a:solidFill>
        <a:latin typeface="+mn-lt"/>
        <a:ea typeface="+mn-ea"/>
        <a:cs typeface="+mn-cs"/>
      </a:defRPr>
    </a:lvl6pPr>
    <a:lvl7pPr marL="2741009" algn="l" defTabSz="913670" rtl="0" eaLnBrk="1" latinLnBrk="0" hangingPunct="1">
      <a:defRPr kern="1200">
        <a:solidFill>
          <a:schemeClr val="tx1"/>
        </a:solidFill>
        <a:latin typeface="+mn-lt"/>
        <a:ea typeface="+mn-ea"/>
        <a:cs typeface="+mn-cs"/>
      </a:defRPr>
    </a:lvl7pPr>
    <a:lvl8pPr marL="3197838" algn="l" defTabSz="913670" rtl="0" eaLnBrk="1" latinLnBrk="0" hangingPunct="1">
      <a:defRPr kern="1200">
        <a:solidFill>
          <a:schemeClr val="tx1"/>
        </a:solidFill>
        <a:latin typeface="+mn-lt"/>
        <a:ea typeface="+mn-ea"/>
        <a:cs typeface="+mn-cs"/>
      </a:defRPr>
    </a:lvl8pPr>
    <a:lvl9pPr marL="3654669" algn="l" defTabSz="913670" rtl="0" eaLnBrk="1" latinLnBrk="0" hangingPunct="1">
      <a:defRPr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un Young (Zum Communications)" initials="JY(C"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365D1"/>
    <a:srgbClr val="23434D"/>
    <a:srgbClr val="FFFFFF"/>
    <a:srgbClr val="5395C9"/>
    <a:srgbClr val="FFCC66"/>
    <a:srgbClr val="000000"/>
    <a:srgbClr val="434C57"/>
    <a:srgbClr val="A4A5A9"/>
    <a:srgbClr val="CFD1D4"/>
    <a:srgbClr val="575D6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416A639A-1315-4925-A9F9-0ACB125E9685}">
  <a:tblStyle styleId="{B482DE17-1FC4-41D7-B2E8-05BAB7828703}" styleName="Custom Table Style 1">
    <a:tblBg>
      <a:effect>
        <a:effectLst/>
      </a:effect>
    </a:tblBg>
    <a:wholeTbl>
      <a:tcTxStyle b="off" i="off">
        <a:fontRef idx="minor"/>
        <a:schemeClr val="tx1"/>
      </a:tcTxStyle>
      <a:tcStyle>
        <a:tcBdr>
          <a:left>
            <a:ln>
              <a:noFill/>
            </a:ln>
          </a:left>
          <a:right>
            <a:ln>
              <a:noFill/>
            </a:ln>
          </a:right>
          <a:top>
            <a:ln>
              <a:noFill/>
            </a:ln>
          </a:top>
          <a:bottom>
            <a:ln>
              <a:noFill/>
            </a:ln>
          </a:bottom>
          <a:insideH>
            <a:ln>
              <a:noFill/>
            </a:ln>
          </a:insideH>
          <a:insideV>
            <a:ln>
              <a:noFill/>
            </a:ln>
          </a:insideV>
          <a:tl2br>
            <a:ln>
              <a:noFill/>
            </a:ln>
          </a:tl2br>
          <a:tr2bl>
            <a:ln>
              <a:noFill/>
            </a:ln>
          </a:tr2bl>
        </a:tcBdr>
        <a:fill>
          <a:noFill/>
        </a:fill>
      </a:tcStyle>
    </a:wholeTbl>
    <a:band1H>
      <a:tcTxStyle b="off" i="off">
        <a:fontRef idx="minor"/>
        <a:schemeClr val="tx1"/>
      </a:tcTxStyle>
      <a:tcStyle>
        <a:tcBdr/>
        <a:fill>
          <a:noFill/>
        </a:fill>
      </a:tcStyle>
    </a:band1H>
    <a:band2H>
      <a:tcTxStyle b="off" i="off">
        <a:fontRef idx="minor"/>
        <a:schemeClr val="tx1"/>
      </a:tcTxStyle>
      <a:tcStyle>
        <a:tcBdr/>
        <a:fill>
          <a:noFill/>
        </a:fill>
      </a:tcStyle>
    </a:band2H>
    <a:band1V>
      <a:tcTxStyle b="off" i="off">
        <a:fontRef idx="minor"/>
        <a:schemeClr val="tx1"/>
      </a:tcTxStyle>
      <a:tcStyle>
        <a:tcBdr/>
        <a:fill>
          <a:solidFill>
            <a:schemeClr val="accent2">
              <a:alpha val="25000"/>
            </a:schemeClr>
          </a:solidFill>
        </a:fill>
      </a:tcStyle>
    </a:band1V>
    <a:band2V>
      <a:tcTxStyle b="off" i="off">
        <a:fontRef idx="minor"/>
        <a:schemeClr val="tx1"/>
      </a:tcTxStyle>
      <a:tcStyle>
        <a:tcBdr/>
        <a:fill>
          <a:noFill/>
        </a:fill>
      </a:tcStyle>
    </a:band2V>
    <a:firstCol>
      <a:tcTxStyle b="on" i="off">
        <a:fontRef idx="minor"/>
        <a:schemeClr val="accent1"/>
      </a:tcTxStyle>
      <a:tcStyle>
        <a:tcBdr/>
        <a:fill>
          <a:noFill/>
        </a:fill>
      </a:tcStyle>
    </a:firstCol>
    <a:lastRow>
      <a:tcTxStyle b="on" i="off">
        <a:fontRef idx="minor"/>
        <a:schemeClr val="lt2"/>
      </a:tcTxStyle>
      <a:tcStyle>
        <a:tcBdr>
          <a:left>
            <a:ln>
              <a:noFill/>
            </a:ln>
          </a:left>
          <a:right>
            <a:ln>
              <a:noFill/>
            </a:ln>
          </a:right>
          <a:top>
            <a:ln>
              <a:noFill/>
            </a:ln>
          </a:top>
          <a:bottom>
            <a:ln>
              <a:noFill/>
            </a:ln>
          </a:bottom>
          <a:insideH>
            <a:ln>
              <a:noFill/>
            </a:ln>
          </a:insideH>
          <a:insideV>
            <a:ln>
              <a:noFill/>
            </a:ln>
          </a:insideV>
          <a:tl2br>
            <a:ln>
              <a:noFill/>
            </a:ln>
          </a:tl2br>
          <a:tr2bl>
            <a:ln>
              <a:noFill/>
            </a:ln>
          </a:tr2bl>
        </a:tcBdr>
        <a:fill>
          <a:solidFill>
            <a:schemeClr val="dk1"/>
          </a:solidFill>
        </a:fill>
      </a:tcStyle>
    </a:lastRow>
    <a:firstRow>
      <a:tcTxStyle b="on" i="off">
        <a:fontRef idx="minor"/>
        <a:schemeClr val="tx1"/>
      </a:tcTxStyle>
      <a:tcStyle>
        <a:tcBdr>
          <a:left>
            <a:ln>
              <a:noFill/>
            </a:ln>
          </a:left>
          <a:right>
            <a:ln>
              <a:noFill/>
            </a:ln>
          </a:right>
          <a:top>
            <a:ln>
              <a:noFill/>
            </a:ln>
          </a:top>
          <a:bottom>
            <a:ln w="25400" cap="flat" cmpd="sng" algn="ctr">
              <a:solidFill>
                <a:schemeClr val="accent1"/>
              </a:solidFill>
              <a:prstDash val="solid"/>
            </a:ln>
          </a:bottom>
          <a:insideH>
            <a:ln>
              <a:noFill/>
            </a:ln>
          </a:insideH>
          <a:insideV>
            <a:ln>
              <a:noFill/>
            </a:ln>
          </a:insideV>
          <a:tl2br>
            <a:ln>
              <a:noFill/>
            </a:ln>
          </a:tl2br>
          <a:tr2bl>
            <a:ln>
              <a:noFill/>
            </a:ln>
          </a:tr2bl>
        </a:tcBdr>
        <a:fill>
          <a:noFill/>
        </a:fill>
      </a:tcStyle>
    </a:firstRow>
  </a:tblStyle>
  <a:tblStyle styleId="{416A639A-1315-4925-A9F9-0ACB125E9685}" styleName="Custom Table Style 2">
    <a:tblBg>
      <a:effect>
        <a:effectLst/>
      </a:effect>
    </a:tblBg>
    <a:wholeTbl>
      <a:tcTxStyle b="off" i="off">
        <a:fontRef idx="minor"/>
        <a:schemeClr val="dk1"/>
      </a:tcTxStyle>
      <a:tcStyle>
        <a:tcBdr>
          <a:left>
            <a:ln>
              <a:noFill/>
            </a:ln>
          </a:left>
          <a:right>
            <a:ln>
              <a:noFill/>
            </a:ln>
          </a:right>
          <a:top>
            <a:ln>
              <a:noFill/>
            </a:ln>
          </a:top>
          <a:bottom>
            <a:ln w="16933" cap="rnd" cmpd="sng" algn="ctr">
              <a:solidFill>
                <a:schemeClr val="accent2"/>
              </a:solidFill>
              <a:prstDash val="sysDot"/>
            </a:ln>
          </a:bottom>
          <a:insideH>
            <a:ln w="16933" cap="rnd" cmpd="sng" algn="ctr">
              <a:solidFill>
                <a:schemeClr val="accent2"/>
              </a:solidFill>
              <a:prstDash val="sysDot"/>
            </a:ln>
          </a:insideH>
          <a:insideV>
            <a:ln>
              <a:noFill/>
            </a:ln>
          </a:insideV>
          <a:tl2br>
            <a:ln>
              <a:noFill/>
            </a:ln>
          </a:tl2br>
          <a:tr2bl>
            <a:ln>
              <a:noFill/>
            </a:ln>
          </a:tr2bl>
        </a:tcBdr>
        <a:fill>
          <a:noFill/>
        </a:fill>
      </a:tcStyle>
    </a:wholeTbl>
    <a:band1H>
      <a:tcTxStyle b="off" i="off">
        <a:fontRef idx="minor"/>
        <a:schemeClr val="tx1"/>
      </a:tcTxStyle>
      <a:tcStyle>
        <a:tcBdr/>
        <a:fill>
          <a:solidFill>
            <a:schemeClr val="accent2">
              <a:alpha val="25000"/>
            </a:schemeClr>
          </a:solidFill>
        </a:fill>
      </a:tcStyle>
    </a:band1H>
    <a:band2H>
      <a:tcTxStyle b="off" i="off">
        <a:fontRef idx="minor"/>
        <a:schemeClr val="tx1"/>
      </a:tcTxStyle>
      <a:tcStyle>
        <a:tcBdr/>
        <a:fill>
          <a:noFill/>
        </a:fill>
      </a:tcStyle>
    </a:band2H>
    <a:firstCol>
      <a:tcTxStyle b="on" i="off">
        <a:fontRef idx="minor"/>
        <a:schemeClr val="lt2"/>
      </a:tcTxStyle>
      <a:tcStyle>
        <a:tcBdr/>
        <a:fill>
          <a:solidFill>
            <a:schemeClr val="dk1">
              <a:shade val="50000"/>
            </a:schemeClr>
          </a:solidFill>
        </a:fill>
      </a:tcStyle>
    </a:firstCol>
    <a:lastRow>
      <a:tcTxStyle b="on" i="off">
        <a:fontRef idx="minor"/>
        <a:schemeClr val="tx1"/>
      </a:tcTxStyle>
      <a:tcStyle>
        <a:tcBdr>
          <a:left>
            <a:ln>
              <a:noFill/>
            </a:ln>
          </a:left>
          <a:right>
            <a:ln>
              <a:noFill/>
            </a:ln>
          </a:right>
          <a:top>
            <a:ln w="38100" cap="flat" cmpd="sng" algn="ctr">
              <a:solidFill>
                <a:schemeClr val="accent1"/>
              </a:solidFill>
              <a:prstDash val="solid"/>
            </a:ln>
          </a:top>
          <a:bottom>
            <a:ln>
              <a:noFill/>
            </a:ln>
          </a:bottom>
          <a:insideH>
            <a:ln>
              <a:noFill/>
            </a:ln>
          </a:insideH>
          <a:insideV>
            <a:ln>
              <a:noFill/>
            </a:ln>
          </a:insideV>
          <a:tl2br>
            <a:ln>
              <a:noFill/>
            </a:ln>
          </a:tl2br>
          <a:tr2bl>
            <a:ln>
              <a:noFill/>
            </a:ln>
          </a:tr2bl>
        </a:tcBdr>
        <a:fill>
          <a:noFill/>
        </a:fill>
      </a:tcStyle>
    </a:lastRow>
    <a:firstRow>
      <a:tcTxStyle b="on" i="off">
        <a:fontRef idx="minor"/>
        <a:schemeClr val="accent1"/>
      </a:tcTxStyle>
      <a:tcStyle>
        <a:tcBdr/>
        <a:fill>
          <a:no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5405" autoAdjust="0"/>
  </p:normalViewPr>
  <p:slideViewPr>
    <p:cSldViewPr snapToGrid="0" snapToObjects="1">
      <p:cViewPr varScale="1">
        <p:scale>
          <a:sx n="141" d="100"/>
          <a:sy n="141" d="100"/>
        </p:scale>
        <p:origin x="702" y="120"/>
      </p:cViewPr>
      <p:guideLst>
        <p:guide orient="horz" pos="1620"/>
        <p:guide pos="2880"/>
      </p:guideLst>
    </p:cSldViewPr>
  </p:slideViewPr>
  <p:outlineViewPr>
    <p:cViewPr>
      <p:scale>
        <a:sx n="33" d="100"/>
        <a:sy n="33" d="100"/>
      </p:scale>
      <p:origin x="0" y="-8736"/>
    </p:cViewPr>
  </p:outlineViewPr>
  <p:notesTextViewPr>
    <p:cViewPr>
      <p:scale>
        <a:sx n="400" d="100"/>
        <a:sy n="400" d="100"/>
      </p:scale>
      <p:origin x="0" y="0"/>
    </p:cViewPr>
  </p:notesTextViewPr>
  <p:sorterViewPr>
    <p:cViewPr varScale="1">
      <p:scale>
        <a:sx n="1" d="1"/>
        <a:sy n="1" d="1"/>
      </p:scale>
      <p:origin x="0" y="0"/>
    </p:cViewPr>
  </p:sorterViewPr>
  <p:notesViewPr>
    <p:cSldViewPr snapToGrid="0" snapToObjects="1">
      <p:cViewPr varScale="1">
        <p:scale>
          <a:sx n="84" d="100"/>
          <a:sy n="84" d="100"/>
        </p:scale>
        <p:origin x="3786" y="10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theme" Target="theme/theme1.xml"/><Relationship Id="rId7"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handoutMaster" Target="handoutMasters/handoutMaster1.xml"/><Relationship Id="rId35"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Funds</c:v>
                </c:pt>
              </c:strCache>
            </c:strRef>
          </c:tx>
          <c:dPt>
            <c:idx val="0"/>
            <c:bubble3D val="0"/>
            <c:spPr>
              <a:solidFill>
                <a:schemeClr val="accent1">
                  <a:shade val="80000"/>
                  <a:satMod val="15000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c:spPr>
            <c:extLst>
              <c:ext xmlns:c16="http://schemas.microsoft.com/office/drawing/2014/chart" uri="{C3380CC4-5D6E-409C-BE32-E72D297353CC}">
                <c16:uniqueId val="{00000001-D317-4C57-8649-7FD350665549}"/>
              </c:ext>
            </c:extLst>
          </c:dPt>
          <c:dPt>
            <c:idx val="1"/>
            <c:bubble3D val="0"/>
            <c:spPr>
              <a:solidFill>
                <a:schemeClr val="accent2">
                  <a:shade val="80000"/>
                  <a:satMod val="15000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c:spPr>
            <c:extLst>
              <c:ext xmlns:c16="http://schemas.microsoft.com/office/drawing/2014/chart" uri="{C3380CC4-5D6E-409C-BE32-E72D297353CC}">
                <c16:uniqueId val="{00000003-D317-4C57-8649-7FD350665549}"/>
              </c:ext>
            </c:extLst>
          </c:dPt>
          <c:dPt>
            <c:idx val="2"/>
            <c:bubble3D val="0"/>
            <c:spPr>
              <a:solidFill>
                <a:schemeClr val="accent3">
                  <a:shade val="80000"/>
                  <a:satMod val="15000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c:spPr>
            <c:extLst>
              <c:ext xmlns:c16="http://schemas.microsoft.com/office/drawing/2014/chart" uri="{C3380CC4-5D6E-409C-BE32-E72D297353CC}">
                <c16:uniqueId val="{00000005-D317-4C57-8649-7FD350665549}"/>
              </c:ext>
            </c:extLst>
          </c:dPt>
          <c:dPt>
            <c:idx val="3"/>
            <c:bubble3D val="0"/>
            <c:spPr>
              <a:solidFill>
                <a:schemeClr val="accent4">
                  <a:shade val="80000"/>
                  <a:satMod val="15000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c:spPr>
            <c:extLst>
              <c:ext xmlns:c16="http://schemas.microsoft.com/office/drawing/2014/chart" uri="{C3380CC4-5D6E-409C-BE32-E72D297353CC}">
                <c16:uniqueId val="{00000007-D317-4C57-8649-7FD350665549}"/>
              </c:ext>
            </c:extLst>
          </c:dPt>
          <c:cat>
            <c:strRef>
              <c:f>Sheet1!$A$2:$A$5</c:f>
              <c:strCache>
                <c:ptCount val="4"/>
                <c:pt idx="0">
                  <c:v>Run</c:v>
                </c:pt>
                <c:pt idx="1">
                  <c:v>Grow</c:v>
                </c:pt>
                <c:pt idx="2">
                  <c:v>Transform</c:v>
                </c:pt>
                <c:pt idx="3">
                  <c:v>Innovation</c:v>
                </c:pt>
              </c:strCache>
            </c:strRef>
          </c:cat>
          <c:val>
            <c:numRef>
              <c:f>Sheet1!$B$2:$B$5</c:f>
              <c:numCache>
                <c:formatCode>0%</c:formatCode>
                <c:ptCount val="4"/>
                <c:pt idx="0">
                  <c:v>0.7</c:v>
                </c:pt>
                <c:pt idx="1">
                  <c:v>0.15</c:v>
                </c:pt>
                <c:pt idx="2">
                  <c:v>0.1</c:v>
                </c:pt>
                <c:pt idx="3">
                  <c:v>0.05</c:v>
                </c:pt>
              </c:numCache>
            </c:numRef>
          </c:val>
          <c:extLst>
            <c:ext xmlns:c16="http://schemas.microsoft.com/office/drawing/2014/chart" uri="{C3380CC4-5D6E-409C-BE32-E72D297353CC}">
              <c16:uniqueId val="{00000008-D317-4C57-8649-7FD350665549}"/>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0.10031035514362077"/>
          <c:y val="0.89595684985877211"/>
          <c:w val="0.79937903596805759"/>
          <c:h val="7.027613788831219E-2"/>
        </c:manualLayout>
      </c:layout>
      <c:overlay val="0"/>
      <c:spPr>
        <a:noFill/>
        <a:ln>
          <a:noFill/>
        </a:ln>
        <a:effectLst/>
      </c:spPr>
      <c:txPr>
        <a:bodyPr rot="0" spcFirstLastPara="1" vertOverflow="ellipsis" vert="horz" wrap="square" anchor="ctr" anchorCtr="1"/>
        <a:lstStyle/>
        <a:p>
          <a:pPr>
            <a:defRPr sz="1197" b="1" i="0" u="none" strike="noStrike" kern="1200" baseline="0">
              <a:solidFill>
                <a:schemeClr val="tx1">
                  <a:lumMod val="65000"/>
                  <a:lumOff val="35000"/>
                </a:schemeClr>
              </a:solidFill>
              <a:latin typeface="Garamond" panose="02020404030301010803" pitchFamily="18" charset="0"/>
              <a:ea typeface="+mn-ea"/>
              <a:cs typeface="+mn-cs"/>
            </a:defRPr>
          </a:pPr>
          <a:endParaRPr lang="en-US"/>
        </a:p>
      </c:txPr>
    </c:legend>
    <c:plotVisOnly val="1"/>
    <c:dispBlanksAs val="gap"/>
    <c:showDLblsOverMax val="0"/>
  </c:chart>
  <c:spPr>
    <a:noFill/>
    <a:ln>
      <a:noFill/>
    </a:ln>
    <a:effectLst/>
  </c:spPr>
  <c:txPr>
    <a:bodyPr/>
    <a:lstStyle/>
    <a:p>
      <a:pPr>
        <a:defRPr b="1">
          <a:latin typeface="Garamond" panose="02020404030301010803" pitchFamily="18"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pieChart>
        <c:varyColors val="1"/>
        <c:ser>
          <c:idx val="0"/>
          <c:order val="0"/>
          <c:tx>
            <c:strRef>
              <c:f>Sheet1!$B$1</c:f>
              <c:strCache>
                <c:ptCount val="1"/>
                <c:pt idx="0">
                  <c:v>Funds</c:v>
                </c:pt>
              </c:strCache>
            </c:strRef>
          </c:tx>
          <c:dPt>
            <c:idx val="0"/>
            <c:bubble3D val="0"/>
            <c:spPr>
              <a:solidFill>
                <a:schemeClr val="accent4">
                  <a:shade val="58000"/>
                </a:schemeClr>
              </a:solidFill>
              <a:ln w="19050">
                <a:solidFill>
                  <a:schemeClr val="lt1"/>
                </a:solidFill>
              </a:ln>
              <a:effectLst/>
            </c:spPr>
            <c:extLst>
              <c:ext xmlns:c16="http://schemas.microsoft.com/office/drawing/2014/chart" uri="{C3380CC4-5D6E-409C-BE32-E72D297353CC}">
                <c16:uniqueId val="{00000001-ACA1-4AF9-BDC7-20DF1F8ED419}"/>
              </c:ext>
            </c:extLst>
          </c:dPt>
          <c:dPt>
            <c:idx val="1"/>
            <c:bubble3D val="0"/>
            <c:spPr>
              <a:solidFill>
                <a:schemeClr val="accent4">
                  <a:shade val="86000"/>
                </a:schemeClr>
              </a:solidFill>
              <a:ln w="19050">
                <a:solidFill>
                  <a:schemeClr val="lt1"/>
                </a:solidFill>
              </a:ln>
              <a:effectLst/>
            </c:spPr>
            <c:extLst>
              <c:ext xmlns:c16="http://schemas.microsoft.com/office/drawing/2014/chart" uri="{C3380CC4-5D6E-409C-BE32-E72D297353CC}">
                <c16:uniqueId val="{00000003-ACA1-4AF9-BDC7-20DF1F8ED419}"/>
              </c:ext>
            </c:extLst>
          </c:dPt>
          <c:dPt>
            <c:idx val="2"/>
            <c:bubble3D val="0"/>
            <c:spPr>
              <a:solidFill>
                <a:schemeClr val="accent4">
                  <a:tint val="86000"/>
                </a:schemeClr>
              </a:solidFill>
              <a:ln w="19050">
                <a:solidFill>
                  <a:schemeClr val="lt1"/>
                </a:solidFill>
              </a:ln>
              <a:effectLst/>
            </c:spPr>
            <c:extLst>
              <c:ext xmlns:c16="http://schemas.microsoft.com/office/drawing/2014/chart" uri="{C3380CC4-5D6E-409C-BE32-E72D297353CC}">
                <c16:uniqueId val="{00000005-ACA1-4AF9-BDC7-20DF1F8ED419}"/>
              </c:ext>
            </c:extLst>
          </c:dPt>
          <c:dPt>
            <c:idx val="3"/>
            <c:bubble3D val="0"/>
            <c:spPr>
              <a:solidFill>
                <a:schemeClr val="accent4">
                  <a:tint val="58000"/>
                </a:schemeClr>
              </a:solidFill>
              <a:ln w="19050">
                <a:solidFill>
                  <a:schemeClr val="lt1"/>
                </a:solidFill>
              </a:ln>
              <a:effectLst/>
            </c:spPr>
            <c:extLst>
              <c:ext xmlns:c16="http://schemas.microsoft.com/office/drawing/2014/chart" uri="{C3380CC4-5D6E-409C-BE32-E72D297353CC}">
                <c16:uniqueId val="{00000007-ACA1-4AF9-BDC7-20DF1F8ED419}"/>
              </c:ext>
            </c:extLst>
          </c:dPt>
          <c:dLbls>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Garamond" panose="02020404030301010803" pitchFamily="18" charset="0"/>
                    <a:ea typeface="+mn-ea"/>
                    <a:cs typeface="+mn-cs"/>
                  </a:defRPr>
                </a:pPr>
                <a:endParaRPr lang="en-US"/>
              </a:p>
            </c:txPr>
            <c:showLegendKey val="0"/>
            <c:showVal val="0"/>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BC1</c:v>
                </c:pt>
                <c:pt idx="1">
                  <c:v>BC2</c:v>
                </c:pt>
                <c:pt idx="2">
                  <c:v>BC3</c:v>
                </c:pt>
                <c:pt idx="3">
                  <c:v>Other</c:v>
                </c:pt>
              </c:strCache>
            </c:strRef>
          </c:cat>
          <c:val>
            <c:numRef>
              <c:f>Sheet1!$B$2:$B$5</c:f>
              <c:numCache>
                <c:formatCode>0%</c:formatCode>
                <c:ptCount val="4"/>
                <c:pt idx="0">
                  <c:v>0.3</c:v>
                </c:pt>
                <c:pt idx="1">
                  <c:v>0.35</c:v>
                </c:pt>
                <c:pt idx="2">
                  <c:v>0.15</c:v>
                </c:pt>
                <c:pt idx="3">
                  <c:v>0.15</c:v>
                </c:pt>
              </c:numCache>
            </c:numRef>
          </c:val>
          <c:extLst>
            <c:ext xmlns:c16="http://schemas.microsoft.com/office/drawing/2014/chart" uri="{C3380CC4-5D6E-409C-BE32-E72D297353CC}">
              <c16:uniqueId val="{00000008-ACA1-4AF9-BDC7-20DF1F8ED419}"/>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b="1">
          <a:solidFill>
            <a:schemeClr val="tx1"/>
          </a:solidFill>
          <a:latin typeface="Garamond" panose="02020404030301010803" pitchFamily="18"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Fund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E923-4621-BBF3-548AC1EBF51D}"/>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E923-4621-BBF3-548AC1EBF51D}"/>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E923-4621-BBF3-548AC1EBF51D}"/>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E923-4621-BBF3-548AC1EBF51D}"/>
              </c:ext>
            </c:extLst>
          </c:dPt>
          <c:cat>
            <c:strRef>
              <c:f>Sheet1!$A$2:$A$4</c:f>
              <c:strCache>
                <c:ptCount val="3"/>
                <c:pt idx="0">
                  <c:v>Run</c:v>
                </c:pt>
                <c:pt idx="1">
                  <c:v>Grow</c:v>
                </c:pt>
                <c:pt idx="2">
                  <c:v>Transform</c:v>
                </c:pt>
              </c:strCache>
            </c:strRef>
          </c:cat>
          <c:val>
            <c:numRef>
              <c:f>Sheet1!$B$2:$B$4</c:f>
              <c:numCache>
                <c:formatCode>0%</c:formatCode>
                <c:ptCount val="3"/>
                <c:pt idx="0">
                  <c:v>0.7</c:v>
                </c:pt>
                <c:pt idx="1">
                  <c:v>0.15</c:v>
                </c:pt>
                <c:pt idx="2">
                  <c:v>0.1</c:v>
                </c:pt>
              </c:numCache>
            </c:numRef>
          </c:val>
          <c:extLst>
            <c:ext xmlns:c16="http://schemas.microsoft.com/office/drawing/2014/chart" uri="{C3380CC4-5D6E-409C-BE32-E72D297353CC}">
              <c16:uniqueId val="{00000008-E923-4621-BBF3-548AC1EBF51D}"/>
            </c:ext>
          </c:extLst>
        </c:ser>
        <c:dLbls>
          <c:showLegendKey val="0"/>
          <c:showVal val="0"/>
          <c:showCatName val="0"/>
          <c:showSerName val="0"/>
          <c:showPercent val="0"/>
          <c:showBubbleSize val="0"/>
          <c:showLeaderLines val="1"/>
        </c:dLbls>
        <c:firstSliceAng val="330"/>
      </c:pieChart>
      <c:spPr>
        <a:noFill/>
        <a:ln>
          <a:noFill/>
        </a:ln>
        <a:effectLst/>
      </c:spPr>
    </c:plotArea>
    <c:legend>
      <c:legendPos val="b"/>
      <c:layout>
        <c:manualLayout>
          <c:xMode val="edge"/>
          <c:yMode val="edge"/>
          <c:x val="0.22996632655725682"/>
          <c:y val="0.86000335771083725"/>
          <c:w val="0.56534534329699193"/>
          <c:h val="6.880644590792305E-2"/>
        </c:manualLayout>
      </c:layout>
      <c:overlay val="0"/>
      <c:spPr>
        <a:noFill/>
        <a:ln>
          <a:noFill/>
        </a:ln>
        <a:effectLst/>
      </c:spPr>
      <c:txPr>
        <a:bodyPr rot="0" spcFirstLastPara="1" vertOverflow="ellipsis" vert="horz" wrap="square" anchor="ctr" anchorCtr="1"/>
        <a:lstStyle/>
        <a:p>
          <a:pPr>
            <a:defRPr sz="1197" b="1" i="0" u="none" strike="noStrike" kern="1200" baseline="0">
              <a:solidFill>
                <a:schemeClr val="tx1">
                  <a:lumMod val="65000"/>
                  <a:lumOff val="35000"/>
                </a:schemeClr>
              </a:solidFill>
              <a:latin typeface="Garamond" panose="02020404030301010803" pitchFamily="18" charset="0"/>
              <a:ea typeface="+mn-ea"/>
              <a:cs typeface="+mn-cs"/>
            </a:defRPr>
          </a:pPr>
          <a:endParaRPr lang="en-US"/>
        </a:p>
      </c:txPr>
    </c:legend>
    <c:plotVisOnly val="1"/>
    <c:dispBlanksAs val="gap"/>
    <c:showDLblsOverMax val="0"/>
  </c:chart>
  <c:spPr>
    <a:noFill/>
    <a:ln>
      <a:noFill/>
    </a:ln>
    <a:effectLst/>
  </c:spPr>
  <c:txPr>
    <a:bodyPr/>
    <a:lstStyle/>
    <a:p>
      <a:pPr>
        <a:defRPr>
          <a:latin typeface="Garamond" panose="02020404030301010803" pitchFamily="18"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7">
  <a:schemeClr val="accent4"/>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44">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67323" cy="452753"/>
          </a:xfrm>
          <a:prstGeom prst="rect">
            <a:avLst/>
          </a:prstGeom>
        </p:spPr>
        <p:txBody>
          <a:bodyPr vert="horz" lIns="92126" tIns="46063" rIns="92126" bIns="46063"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4008141" y="0"/>
            <a:ext cx="3067323" cy="452753"/>
          </a:xfrm>
          <a:prstGeom prst="rect">
            <a:avLst/>
          </a:prstGeom>
        </p:spPr>
        <p:txBody>
          <a:bodyPr vert="horz" wrap="square" lIns="92126" tIns="46063" rIns="92126" bIns="46063" numCol="1" anchor="t" anchorCtr="0" compatLnSpc="1">
            <a:prstTxWarp prst="textNoShape">
              <a:avLst/>
            </a:prstTxWarp>
          </a:bodyPr>
          <a:lstStyle>
            <a:lvl1pPr algn="r">
              <a:defRPr sz="1200">
                <a:latin typeface="Calibri" pitchFamily="34" charset="0"/>
              </a:defRPr>
            </a:lvl1pPr>
          </a:lstStyle>
          <a:p>
            <a:pPr>
              <a:defRPr/>
            </a:pPr>
            <a:fld id="{2A52147A-CD42-488D-9276-5A9ED7C5857D}" type="datetimeFigureOut">
              <a:rPr lang="en-US" altLang="en-US"/>
              <a:pPr>
                <a:defRPr/>
              </a:pPr>
              <a:t>4/23/2018</a:t>
            </a:fld>
            <a:endParaRPr lang="en-US" altLang="en-US"/>
          </a:p>
        </p:txBody>
      </p:sp>
      <p:sp>
        <p:nvSpPr>
          <p:cNvPr id="4" name="Footer Placeholder 3"/>
          <p:cNvSpPr>
            <a:spLocks noGrp="1"/>
          </p:cNvSpPr>
          <p:nvPr>
            <p:ph type="ftr" sz="quarter" idx="2"/>
          </p:nvPr>
        </p:nvSpPr>
        <p:spPr>
          <a:xfrm>
            <a:off x="0" y="8597617"/>
            <a:ext cx="3067323" cy="452753"/>
          </a:xfrm>
          <a:prstGeom prst="rect">
            <a:avLst/>
          </a:prstGeom>
        </p:spPr>
        <p:txBody>
          <a:bodyPr vert="horz" lIns="92126" tIns="46063" rIns="92126" bIns="46063"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4008141" y="8597617"/>
            <a:ext cx="3067323" cy="452753"/>
          </a:xfrm>
          <a:prstGeom prst="rect">
            <a:avLst/>
          </a:prstGeom>
        </p:spPr>
        <p:txBody>
          <a:bodyPr vert="horz" wrap="square" lIns="92126" tIns="46063" rIns="92126" bIns="46063" numCol="1" anchor="b" anchorCtr="0" compatLnSpc="1">
            <a:prstTxWarp prst="textNoShape">
              <a:avLst/>
            </a:prstTxWarp>
          </a:bodyPr>
          <a:lstStyle>
            <a:lvl1pPr algn="r">
              <a:defRPr sz="1200">
                <a:latin typeface="Calibri" pitchFamily="34" charset="0"/>
              </a:defRPr>
            </a:lvl1pPr>
          </a:lstStyle>
          <a:p>
            <a:pPr>
              <a:defRPr/>
            </a:pPr>
            <a:fld id="{30881E5B-5E8C-42C5-A155-152F4DF9EC1A}" type="slidenum">
              <a:rPr lang="en-US" altLang="en-US"/>
              <a:pPr>
                <a:defRPr/>
              </a:pPr>
              <a:t>‹#›</a:t>
            </a:fld>
            <a:endParaRPr lang="en-US" altLang="en-US"/>
          </a:p>
        </p:txBody>
      </p:sp>
    </p:spTree>
    <p:extLst>
      <p:ext uri="{BB962C8B-B14F-4D97-AF65-F5344CB8AC3E}">
        <p14:creationId xmlns:p14="http://schemas.microsoft.com/office/powerpoint/2010/main" val="10930630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67323" cy="454308"/>
          </a:xfrm>
          <a:prstGeom prst="rect">
            <a:avLst/>
          </a:prstGeom>
        </p:spPr>
        <p:txBody>
          <a:bodyPr vert="horz" lIns="93315" tIns="46657" rIns="93315" bIns="46657"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4008141" y="0"/>
            <a:ext cx="3067323" cy="454308"/>
          </a:xfrm>
          <a:prstGeom prst="rect">
            <a:avLst/>
          </a:prstGeom>
        </p:spPr>
        <p:txBody>
          <a:bodyPr vert="horz" wrap="square" lIns="93315" tIns="46657" rIns="93315" bIns="46657" numCol="1" anchor="t" anchorCtr="0" compatLnSpc="1">
            <a:prstTxWarp prst="textNoShape">
              <a:avLst/>
            </a:prstTxWarp>
          </a:bodyPr>
          <a:lstStyle>
            <a:lvl1pPr algn="r">
              <a:defRPr sz="1200">
                <a:latin typeface="Calibri" pitchFamily="34" charset="0"/>
              </a:defRPr>
            </a:lvl1pPr>
          </a:lstStyle>
          <a:p>
            <a:pPr>
              <a:defRPr/>
            </a:pPr>
            <a:fld id="{AF45C94E-D0D1-4A10-8044-193E96A09458}" type="datetimeFigureOut">
              <a:rPr lang="en-US" altLang="en-US"/>
              <a:pPr>
                <a:defRPr/>
              </a:pPr>
              <a:t>4/23/2018</a:t>
            </a:fld>
            <a:endParaRPr lang="en-US" altLang="en-US"/>
          </a:p>
        </p:txBody>
      </p:sp>
      <p:sp>
        <p:nvSpPr>
          <p:cNvPr id="4" name="Slide Image Placeholder 3"/>
          <p:cNvSpPr>
            <a:spLocks noGrp="1" noRot="1" noChangeAspect="1"/>
          </p:cNvSpPr>
          <p:nvPr>
            <p:ph type="sldImg" idx="2"/>
          </p:nvPr>
        </p:nvSpPr>
        <p:spPr>
          <a:xfrm>
            <a:off x="823913" y="1131888"/>
            <a:ext cx="5429250" cy="3054350"/>
          </a:xfrm>
          <a:prstGeom prst="rect">
            <a:avLst/>
          </a:prstGeom>
          <a:noFill/>
          <a:ln w="12700">
            <a:solidFill>
              <a:prstClr val="black"/>
            </a:solidFill>
          </a:ln>
        </p:spPr>
        <p:txBody>
          <a:bodyPr vert="horz" lIns="93315" tIns="46657" rIns="93315" bIns="46657" rtlCol="0" anchor="ctr"/>
          <a:lstStyle/>
          <a:p>
            <a:pPr lvl="0"/>
            <a:endParaRPr lang="en-US" noProof="0"/>
          </a:p>
        </p:txBody>
      </p:sp>
      <p:sp>
        <p:nvSpPr>
          <p:cNvPr id="5" name="Notes Placeholder 4"/>
          <p:cNvSpPr>
            <a:spLocks noGrp="1"/>
          </p:cNvSpPr>
          <p:nvPr>
            <p:ph type="body" sz="quarter" idx="3"/>
          </p:nvPr>
        </p:nvSpPr>
        <p:spPr>
          <a:xfrm>
            <a:off x="707225" y="4356376"/>
            <a:ext cx="5662625" cy="3564449"/>
          </a:xfrm>
          <a:prstGeom prst="rect">
            <a:avLst/>
          </a:prstGeom>
        </p:spPr>
        <p:txBody>
          <a:bodyPr vert="horz" lIns="93315" tIns="46657" rIns="93315" bIns="46657"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597618"/>
            <a:ext cx="3067323" cy="454308"/>
          </a:xfrm>
          <a:prstGeom prst="rect">
            <a:avLst/>
          </a:prstGeom>
        </p:spPr>
        <p:txBody>
          <a:bodyPr vert="horz" lIns="93315" tIns="46657" rIns="93315" bIns="46657"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4008141" y="8597618"/>
            <a:ext cx="3067323" cy="454308"/>
          </a:xfrm>
          <a:prstGeom prst="rect">
            <a:avLst/>
          </a:prstGeom>
        </p:spPr>
        <p:txBody>
          <a:bodyPr vert="horz" wrap="square" lIns="93315" tIns="46657" rIns="93315" bIns="46657" numCol="1" anchor="b" anchorCtr="0" compatLnSpc="1">
            <a:prstTxWarp prst="textNoShape">
              <a:avLst/>
            </a:prstTxWarp>
          </a:bodyPr>
          <a:lstStyle>
            <a:lvl1pPr algn="r">
              <a:defRPr sz="1200">
                <a:latin typeface="Calibri" pitchFamily="34" charset="0"/>
              </a:defRPr>
            </a:lvl1pPr>
          </a:lstStyle>
          <a:p>
            <a:pPr>
              <a:defRPr/>
            </a:pPr>
            <a:fld id="{FF94B2D0-6B4C-48CF-97F2-D65075F67B53}" type="slidenum">
              <a:rPr lang="en-US" altLang="en-US"/>
              <a:pPr>
                <a:defRPr/>
              </a:pPr>
              <a:t>‹#›</a:t>
            </a:fld>
            <a:endParaRPr lang="en-US" altLang="en-US"/>
          </a:p>
        </p:txBody>
      </p:sp>
    </p:spTree>
    <p:extLst>
      <p:ext uri="{BB962C8B-B14F-4D97-AF65-F5344CB8AC3E}">
        <p14:creationId xmlns:p14="http://schemas.microsoft.com/office/powerpoint/2010/main" val="378519165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6835" algn="l" rtl="0" eaLnBrk="0" fontAlgn="base" hangingPunct="0">
      <a:spcBef>
        <a:spcPct val="30000"/>
      </a:spcBef>
      <a:spcAft>
        <a:spcPct val="0"/>
      </a:spcAft>
      <a:defRPr sz="1200" kern="1200">
        <a:solidFill>
          <a:schemeClr val="tx1"/>
        </a:solidFill>
        <a:latin typeface="+mn-lt"/>
        <a:ea typeface="+mn-ea"/>
        <a:cs typeface="+mn-cs"/>
      </a:defRPr>
    </a:lvl2pPr>
    <a:lvl3pPr marL="913670" algn="l" rtl="0" eaLnBrk="0" fontAlgn="base" hangingPunct="0">
      <a:spcBef>
        <a:spcPct val="30000"/>
      </a:spcBef>
      <a:spcAft>
        <a:spcPct val="0"/>
      </a:spcAft>
      <a:defRPr sz="1200" kern="1200">
        <a:solidFill>
          <a:schemeClr val="tx1"/>
        </a:solidFill>
        <a:latin typeface="+mn-lt"/>
        <a:ea typeface="+mn-ea"/>
        <a:cs typeface="+mn-cs"/>
      </a:defRPr>
    </a:lvl3pPr>
    <a:lvl4pPr marL="1370505" algn="l" rtl="0" eaLnBrk="0" fontAlgn="base" hangingPunct="0">
      <a:spcBef>
        <a:spcPct val="30000"/>
      </a:spcBef>
      <a:spcAft>
        <a:spcPct val="0"/>
      </a:spcAft>
      <a:defRPr sz="1200" kern="1200">
        <a:solidFill>
          <a:schemeClr val="tx1"/>
        </a:solidFill>
        <a:latin typeface="+mn-lt"/>
        <a:ea typeface="+mn-ea"/>
        <a:cs typeface="+mn-cs"/>
      </a:defRPr>
    </a:lvl4pPr>
    <a:lvl5pPr marL="1827336" algn="l" rtl="0" eaLnBrk="0" fontAlgn="base" hangingPunct="0">
      <a:spcBef>
        <a:spcPct val="30000"/>
      </a:spcBef>
      <a:spcAft>
        <a:spcPct val="0"/>
      </a:spcAft>
      <a:defRPr sz="1200" kern="1200">
        <a:solidFill>
          <a:schemeClr val="tx1"/>
        </a:solidFill>
        <a:latin typeface="+mn-lt"/>
        <a:ea typeface="+mn-ea"/>
        <a:cs typeface="+mn-cs"/>
      </a:defRPr>
    </a:lvl5pPr>
    <a:lvl6pPr marL="2284166" algn="l" defTabSz="913670" rtl="0" eaLnBrk="1" latinLnBrk="0" hangingPunct="1">
      <a:defRPr sz="1200" kern="1200">
        <a:solidFill>
          <a:schemeClr val="tx1"/>
        </a:solidFill>
        <a:latin typeface="+mn-lt"/>
        <a:ea typeface="+mn-ea"/>
        <a:cs typeface="+mn-cs"/>
      </a:defRPr>
    </a:lvl6pPr>
    <a:lvl7pPr marL="2741009" algn="l" defTabSz="913670" rtl="0" eaLnBrk="1" latinLnBrk="0" hangingPunct="1">
      <a:defRPr sz="1200" kern="1200">
        <a:solidFill>
          <a:schemeClr val="tx1"/>
        </a:solidFill>
        <a:latin typeface="+mn-lt"/>
        <a:ea typeface="+mn-ea"/>
        <a:cs typeface="+mn-cs"/>
      </a:defRPr>
    </a:lvl7pPr>
    <a:lvl8pPr marL="3197838" algn="l" defTabSz="913670" rtl="0" eaLnBrk="1" latinLnBrk="0" hangingPunct="1">
      <a:defRPr sz="1200" kern="1200">
        <a:solidFill>
          <a:schemeClr val="tx1"/>
        </a:solidFill>
        <a:latin typeface="+mn-lt"/>
        <a:ea typeface="+mn-ea"/>
        <a:cs typeface="+mn-cs"/>
      </a:defRPr>
    </a:lvl8pPr>
    <a:lvl9pPr marL="3654669" algn="l" defTabSz="91367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3913" y="1131888"/>
            <a:ext cx="5429250" cy="30543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FF94B2D0-6B4C-48CF-97F2-D65075F67B53}" type="slidenum">
              <a:rPr lang="en-US" altLang="en-US" smtClean="0"/>
              <a:pPr>
                <a:defRPr/>
              </a:pPr>
              <a:t>0</a:t>
            </a:fld>
            <a:endParaRPr lang="en-US" altLang="en-US"/>
          </a:p>
        </p:txBody>
      </p:sp>
    </p:spTree>
    <p:extLst>
      <p:ext uri="{BB962C8B-B14F-4D97-AF65-F5344CB8AC3E}">
        <p14:creationId xmlns:p14="http://schemas.microsoft.com/office/powerpoint/2010/main" val="19785884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F94B2D0-6B4C-48CF-97F2-D65075F67B53}" type="slidenum">
              <a:rPr lang="en-US" altLang="en-US" smtClean="0"/>
              <a:pPr>
                <a:defRPr/>
              </a:pPr>
              <a:t>2</a:t>
            </a:fld>
            <a:endParaRPr lang="en-US" altLang="en-US"/>
          </a:p>
        </p:txBody>
      </p:sp>
    </p:spTree>
    <p:extLst>
      <p:ext uri="{BB962C8B-B14F-4D97-AF65-F5344CB8AC3E}">
        <p14:creationId xmlns:p14="http://schemas.microsoft.com/office/powerpoint/2010/main" val="37371826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3375" y="625475"/>
            <a:ext cx="6648450" cy="3740150"/>
          </a:xfrm>
        </p:spPr>
      </p:sp>
      <p:sp>
        <p:nvSpPr>
          <p:cNvPr id="3" name="Notes Placeholder 2"/>
          <p:cNvSpPr>
            <a:spLocks noGrp="1"/>
          </p:cNvSpPr>
          <p:nvPr>
            <p:ph type="body" idx="1"/>
          </p:nvPr>
        </p:nvSpPr>
        <p:spPr/>
        <p:txBody>
          <a:bodyPr/>
          <a:lstStyle/>
          <a:p>
            <a:pPr marL="177547" indent="-177547" defTabSz="946916">
              <a:defRPr/>
            </a:pPr>
            <a:r>
              <a:rPr lang="en-US" b="1" dirty="0"/>
              <a:t>Lecture: </a:t>
            </a:r>
            <a:r>
              <a:rPr lang="en-US" dirty="0"/>
              <a:t>There are four types of value conversations that have been described by the TBM framework. They are:</a:t>
            </a:r>
          </a:p>
          <a:p>
            <a:pPr marL="177547" indent="-177547" defTabSz="946916">
              <a:defRPr/>
            </a:pPr>
            <a:endParaRPr lang="en-US" dirty="0"/>
          </a:p>
          <a:p>
            <a:pPr marL="177547" indent="-177547" defTabSz="946916">
              <a:defRPr/>
            </a:pPr>
            <a:r>
              <a:rPr lang="en-US" b="1" dirty="0"/>
              <a:t>(Click) Cost for Performance</a:t>
            </a:r>
            <a:r>
              <a:rPr lang="en-US" dirty="0"/>
              <a:t>: </a:t>
            </a:r>
          </a:p>
          <a:p>
            <a:pPr marL="419208" lvl="1" indent="-177547" defTabSz="946916">
              <a:buSzTx/>
              <a:defRPr/>
            </a:pPr>
            <a:r>
              <a:rPr lang="en-US" dirty="0"/>
              <a:t>These conversations help ensure that technology is being delivered efficiently to the business. </a:t>
            </a:r>
          </a:p>
          <a:p>
            <a:pPr marL="419208" lvl="1" indent="-177547" defTabSz="946916">
              <a:buSzTx/>
              <a:defRPr/>
            </a:pPr>
            <a:r>
              <a:rPr lang="en-US" dirty="0"/>
              <a:t>They enable technology leaders to measure and improve efficiency and demonstrate that the services and technologies they provide are in line with alternatives, such as cloud options, industry peers or other internal providers. </a:t>
            </a:r>
          </a:p>
          <a:p>
            <a:pPr marL="419208" lvl="1" indent="-177547" defTabSz="946916">
              <a:buSzTx/>
              <a:defRPr/>
            </a:pPr>
            <a:r>
              <a:rPr lang="en-US" dirty="0"/>
              <a:t>Involve tradeoffs (e.g., reducing spare capacity to cut costs) and rooting out waste or unnecessary levels of quality. </a:t>
            </a:r>
          </a:p>
          <a:p>
            <a:pPr marL="419208" lvl="1" indent="-177547" defTabSz="946916">
              <a:buSzTx/>
              <a:defRPr/>
            </a:pPr>
            <a:r>
              <a:rPr lang="en-US" dirty="0"/>
              <a:t>Driven by initiatives such as virtualization, modernization, renegotiating contracts, labor arbitrage, and by insight hunting (searching for and reducing inefficiencies). </a:t>
            </a:r>
          </a:p>
          <a:p>
            <a:pPr marL="177547" indent="-177547" defTabSz="946916">
              <a:defRPr/>
            </a:pPr>
            <a:endParaRPr lang="en-US" b="1" dirty="0"/>
          </a:p>
          <a:p>
            <a:pPr marL="177547" indent="-177547" defTabSz="946916">
              <a:defRPr/>
            </a:pPr>
            <a:r>
              <a:rPr lang="en-US" b="1" dirty="0"/>
              <a:t>(Click) Business-Aligned Portfolio</a:t>
            </a:r>
            <a:r>
              <a:rPr lang="en-US" dirty="0"/>
              <a:t>: </a:t>
            </a:r>
          </a:p>
          <a:p>
            <a:pPr marL="419208" lvl="1" indent="-177547" defTabSz="946916">
              <a:buSzTx/>
              <a:defRPr/>
            </a:pPr>
            <a:r>
              <a:rPr lang="en-US" dirty="0"/>
              <a:t>These help ensure that the </a:t>
            </a:r>
            <a:r>
              <a:rPr lang="en-US" i="1" dirty="0"/>
              <a:t>portfolios</a:t>
            </a:r>
            <a:r>
              <a:rPr lang="en-US" dirty="0"/>
              <a:t> of services, projects, vendors, technologies, data centers and other types are optimized to deliver the most value for the level of spending or investment. </a:t>
            </a:r>
          </a:p>
          <a:p>
            <a:pPr marL="419208" lvl="1" indent="-177547" defTabSz="946916">
              <a:buSzTx/>
              <a:defRPr/>
            </a:pPr>
            <a:r>
              <a:rPr lang="en-US" dirty="0"/>
              <a:t>They enable IT to focus its time and resources on the right services, technologies, and providers for the business. </a:t>
            </a:r>
          </a:p>
          <a:p>
            <a:pPr marL="419208" lvl="1" indent="-177547" defTabSz="946916">
              <a:buSzTx/>
              <a:defRPr/>
            </a:pPr>
            <a:r>
              <a:rPr lang="en-US" dirty="0"/>
              <a:t>Involve tradeoffs, namely, the shifting of resources or time between items in each portfolio. </a:t>
            </a:r>
          </a:p>
          <a:p>
            <a:pPr marL="419208" lvl="1" indent="-177547" defTabSz="946916">
              <a:buSzTx/>
              <a:defRPr/>
            </a:pPr>
            <a:r>
              <a:rPr lang="en-US" dirty="0"/>
              <a:t>Driven by initiatives such as rationalization (e.g., </a:t>
            </a:r>
            <a:r>
              <a:rPr lang="en-US" i="1" dirty="0"/>
              <a:t>application</a:t>
            </a:r>
            <a:r>
              <a:rPr lang="en-US" dirty="0"/>
              <a:t> rationalization) and consolidation (e.g., data center consolidation), which help simplify a portfolio. </a:t>
            </a:r>
          </a:p>
          <a:p>
            <a:pPr marL="177547" indent="-177547" defTabSz="946916">
              <a:defRPr/>
            </a:pPr>
            <a:endParaRPr lang="en-US" b="1" dirty="0"/>
          </a:p>
          <a:p>
            <a:pPr marL="177547" indent="-177547" defTabSz="946916">
              <a:defRPr/>
            </a:pPr>
            <a:r>
              <a:rPr lang="en-US" b="1" dirty="0"/>
              <a:t>(Click) Investment in Innovation</a:t>
            </a:r>
            <a:r>
              <a:rPr lang="en-US" dirty="0"/>
              <a:t>: </a:t>
            </a:r>
          </a:p>
          <a:p>
            <a:pPr marL="419208" lvl="1" indent="-177547" defTabSz="946916">
              <a:buSzTx/>
              <a:defRPr/>
            </a:pPr>
            <a:r>
              <a:rPr lang="en-US" dirty="0"/>
              <a:t>These help ensure that the technology organization spends adequate resources on new and enhanced services and on business innovation and that it governs those investments wisely. </a:t>
            </a:r>
          </a:p>
          <a:p>
            <a:pPr marL="419208" lvl="1" indent="-177547" defTabSz="946916">
              <a:buSzTx/>
              <a:defRPr/>
            </a:pPr>
            <a:r>
              <a:rPr lang="en-US" dirty="0"/>
              <a:t>They provide for a more comprehensive oversight of project costs, helping shift to a service-oriented approach to managing investments, funding the innovation program and driving (or justifying) shared investments.</a:t>
            </a:r>
          </a:p>
          <a:p>
            <a:pPr marL="177547" indent="-177547" defTabSz="946916">
              <a:defRPr/>
            </a:pPr>
            <a:endParaRPr lang="en-US" b="1" dirty="0"/>
          </a:p>
          <a:p>
            <a:pPr marL="177547" indent="-177547" defTabSz="946916">
              <a:defRPr/>
            </a:pPr>
            <a:r>
              <a:rPr lang="en-US" b="1" dirty="0"/>
              <a:t>(Click) Enterprise Agility: </a:t>
            </a:r>
          </a:p>
          <a:p>
            <a:pPr marL="419208" lvl="1" indent="-177547" defTabSz="946916">
              <a:buSzTx/>
              <a:defRPr/>
            </a:pPr>
            <a:r>
              <a:rPr lang="en-US" dirty="0"/>
              <a:t>These help ensure the technology organization can respond quickly to changing needs of the business and also help the business respond to market opportunities or threats. </a:t>
            </a:r>
          </a:p>
          <a:p>
            <a:pPr marL="419208" lvl="1" indent="-177547" defTabSz="946916">
              <a:buSzTx/>
              <a:defRPr/>
            </a:pPr>
            <a:r>
              <a:rPr lang="en-US" dirty="0"/>
              <a:t>They enable changes to the existing cost and investment structures to more flexible models, leveraging the cloud, exploiting decentralized IT decisions, and using data to make better decisions faster.</a:t>
            </a:r>
          </a:p>
          <a:p>
            <a:pPr marL="177547" indent="-177547" defTabSz="946916">
              <a:defRPr/>
            </a:pPr>
            <a:endParaRPr lang="en-US" dirty="0"/>
          </a:p>
          <a:p>
            <a:pPr marL="0" indent="0" defTabSz="946916">
              <a:buNone/>
              <a:defRPr/>
            </a:pPr>
            <a:r>
              <a:rPr lang="en-US" dirty="0"/>
              <a:t>The four conversations are positioned to optimize </a:t>
            </a:r>
            <a:r>
              <a:rPr lang="en-US" b="1" dirty="0"/>
              <a:t>run-the-business </a:t>
            </a:r>
            <a:r>
              <a:rPr lang="en-US" dirty="0"/>
              <a:t>(RtB) spending and shift money to </a:t>
            </a:r>
            <a:r>
              <a:rPr lang="en-US" b="1" dirty="0"/>
              <a:t>change-the-business </a:t>
            </a:r>
            <a:r>
              <a:rPr lang="en-US" dirty="0"/>
              <a:t>efforts.</a:t>
            </a:r>
          </a:p>
          <a:p>
            <a:pPr marL="177547" indent="-177547" defTabSz="946916">
              <a:defRPr/>
            </a:pPr>
            <a:endParaRPr lang="en-US" dirty="0"/>
          </a:p>
          <a:p>
            <a:pPr lvl="0"/>
            <a:r>
              <a:rPr lang="en-US" b="1" dirty="0"/>
              <a:t>(Click) Run-the-business: </a:t>
            </a:r>
          </a:p>
          <a:p>
            <a:pPr lvl="1"/>
            <a:r>
              <a:rPr lang="en-US" dirty="0"/>
              <a:t>Refers to spending and investments used for ongoing operations of the business. </a:t>
            </a:r>
          </a:p>
          <a:p>
            <a:pPr lvl="1"/>
            <a:r>
              <a:rPr lang="en-US" dirty="0"/>
              <a:t>May include both operating and </a:t>
            </a:r>
            <a:r>
              <a:rPr lang="en-US" i="1" dirty="0"/>
              <a:t>capital expenditure</a:t>
            </a:r>
            <a:r>
              <a:rPr lang="en-US" dirty="0"/>
              <a:t>s. </a:t>
            </a:r>
          </a:p>
          <a:p>
            <a:pPr lvl="2"/>
            <a:r>
              <a:rPr lang="en-US" dirty="0"/>
              <a:t>Operating expenditures that qualify often include internal and external labor, </a:t>
            </a:r>
            <a:r>
              <a:rPr lang="en-US" i="1" dirty="0"/>
              <a:t>depreciation</a:t>
            </a:r>
            <a:r>
              <a:rPr lang="en-US" dirty="0"/>
              <a:t> and </a:t>
            </a:r>
            <a:r>
              <a:rPr lang="en-US" i="1" dirty="0"/>
              <a:t>amortization</a:t>
            </a:r>
            <a:r>
              <a:rPr lang="en-US" dirty="0"/>
              <a:t> of assets, facilities expenses, utilities, and telecommunication services. </a:t>
            </a:r>
          </a:p>
          <a:p>
            <a:pPr lvl="2"/>
            <a:r>
              <a:rPr lang="en-US" dirty="0"/>
              <a:t>Capital expenditures that qualify hardware refreshes or upgrades that do not qualify as grow- or </a:t>
            </a:r>
            <a:r>
              <a:rPr lang="en-US" i="1" dirty="0"/>
              <a:t>transform-the-business</a:t>
            </a:r>
            <a:r>
              <a:rPr lang="en-US" dirty="0"/>
              <a:t>. </a:t>
            </a:r>
          </a:p>
          <a:p>
            <a:pPr lvl="2"/>
            <a:r>
              <a:rPr lang="en-US" dirty="0"/>
              <a:t>Mostly includes non-discretionary expenditures, although some discretionary expenses such as training and travel may also be run-the-business. </a:t>
            </a:r>
          </a:p>
          <a:p>
            <a:pPr lvl="2"/>
            <a:r>
              <a:rPr lang="en-US" dirty="0"/>
              <a:t>Most mandatory expenditures such as compliance, safety or risk investments are also run-the-business. </a:t>
            </a:r>
          </a:p>
          <a:p>
            <a:pPr lvl="2"/>
            <a:endParaRPr lang="en-US" dirty="0"/>
          </a:p>
          <a:p>
            <a:pPr lvl="0"/>
            <a:r>
              <a:rPr lang="en-US" b="1" dirty="0"/>
              <a:t>(Click) Change-the-Business: </a:t>
            </a:r>
          </a:p>
          <a:p>
            <a:pPr lvl="1"/>
            <a:r>
              <a:rPr lang="en-US" dirty="0"/>
              <a:t>Refers to spending and investments used to grow or transform the business. </a:t>
            </a:r>
          </a:p>
          <a:p>
            <a:pPr lvl="1"/>
            <a:r>
              <a:rPr lang="en-US" dirty="0"/>
              <a:t>May include both operating and </a:t>
            </a:r>
            <a:r>
              <a:rPr lang="en-US" i="1" dirty="0"/>
              <a:t>capital expenditure</a:t>
            </a:r>
            <a:r>
              <a:rPr lang="en-US" dirty="0"/>
              <a:t>s. </a:t>
            </a:r>
          </a:p>
          <a:p>
            <a:pPr lvl="2"/>
            <a:r>
              <a:rPr lang="en-US" dirty="0"/>
              <a:t>Operating expenditures that qualify often include project spending that occurs before capitalization begins and operational resources on services that are categorized as change-the-business. </a:t>
            </a:r>
          </a:p>
          <a:p>
            <a:pPr lvl="2"/>
            <a:r>
              <a:rPr lang="en-US" dirty="0"/>
              <a:t>Capital expenditures that qualify include the purchases and/or development of new assets that directly enable business growth or transformation. </a:t>
            </a:r>
          </a:p>
          <a:p>
            <a:pPr lvl="2"/>
            <a:r>
              <a:rPr lang="en-US" dirty="0"/>
              <a:t>Is a superset of both </a:t>
            </a:r>
            <a:r>
              <a:rPr lang="en-US" i="1" dirty="0"/>
              <a:t>grow-the-business</a:t>
            </a:r>
            <a:r>
              <a:rPr lang="en-US" dirty="0"/>
              <a:t> and </a:t>
            </a:r>
            <a:r>
              <a:rPr lang="en-US" i="1" dirty="0"/>
              <a:t>transform-the-business</a:t>
            </a:r>
            <a:r>
              <a:rPr lang="en-US" dirty="0"/>
              <a:t> classifications. </a:t>
            </a:r>
          </a:p>
          <a:p>
            <a:pPr lvl="2"/>
            <a:r>
              <a:rPr lang="en-US" dirty="0"/>
              <a:t>Is usually comprised of discretionary spending.</a:t>
            </a:r>
          </a:p>
          <a:p>
            <a:pPr lvl="2"/>
            <a:endParaRPr lang="en-US" b="1" dirty="0"/>
          </a:p>
          <a:p>
            <a:pPr lvl="0"/>
            <a:r>
              <a:rPr lang="en-US" sz="1400" b="1" dirty="0"/>
              <a:t>Transition:</a:t>
            </a:r>
            <a:r>
              <a:rPr lang="en-US" sz="1400" dirty="0"/>
              <a:t> Great, so now you know how different value conversations are structured and how they might help run-the-business or change-the-business. But what tools does TBM provide to assist in when and where to have your value conversations?</a:t>
            </a:r>
            <a:endParaRPr lang="en-US" sz="1400" b="1" dirty="0"/>
          </a:p>
        </p:txBody>
      </p:sp>
      <p:sp>
        <p:nvSpPr>
          <p:cNvPr id="7" name="Footer Placeholder 6"/>
          <p:cNvSpPr>
            <a:spLocks noGrp="1"/>
          </p:cNvSpPr>
          <p:nvPr>
            <p:ph type="ftr" sz="quarter" idx="10"/>
          </p:nvPr>
        </p:nvSpPr>
        <p:spPr/>
        <p:txBody>
          <a:bodyPr/>
          <a:lstStyle/>
          <a:p>
            <a:r>
              <a:rPr lang="en-US"/>
              <a:t>© 2017 Technology Business Management Council, Ltd. All Rights Reserved.</a:t>
            </a:r>
            <a:endParaRPr lang="en-US" dirty="0"/>
          </a:p>
        </p:txBody>
      </p:sp>
      <p:sp>
        <p:nvSpPr>
          <p:cNvPr id="8" name="Slide Number Placeholder 7"/>
          <p:cNvSpPr>
            <a:spLocks noGrp="1"/>
          </p:cNvSpPr>
          <p:nvPr>
            <p:ph type="sldNum" sz="quarter" idx="11"/>
          </p:nvPr>
        </p:nvSpPr>
        <p:spPr/>
        <p:txBody>
          <a:bodyPr/>
          <a:lstStyle/>
          <a:p>
            <a:fld id="{120394FA-DB15-4F1F-B2B6-465A9D23EE6C}" type="slidenum">
              <a:rPr lang="en-US" smtClean="0"/>
              <a:pPr/>
              <a:t>5</a:t>
            </a:fld>
            <a:endParaRPr lang="en-US" dirty="0"/>
          </a:p>
        </p:txBody>
      </p:sp>
      <p:sp>
        <p:nvSpPr>
          <p:cNvPr id="9" name="Header Placeholder 8"/>
          <p:cNvSpPr>
            <a:spLocks noGrp="1"/>
          </p:cNvSpPr>
          <p:nvPr>
            <p:ph type="hdr" sz="quarter" idx="12"/>
          </p:nvPr>
        </p:nvSpPr>
        <p:spPr/>
        <p:txBody>
          <a:bodyPr/>
          <a:lstStyle/>
          <a:p>
            <a:pPr>
              <a:defRPr/>
            </a:pPr>
            <a:r>
              <a:rPr lang="en-US"/>
              <a:t>TBM Council Course Template</a:t>
            </a:r>
            <a:endParaRPr lang="en-US" dirty="0"/>
          </a:p>
        </p:txBody>
      </p:sp>
    </p:spTree>
    <p:extLst>
      <p:ext uri="{BB962C8B-B14F-4D97-AF65-F5344CB8AC3E}">
        <p14:creationId xmlns:p14="http://schemas.microsoft.com/office/powerpoint/2010/main" val="25476705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FF94B2D0-6B4C-48CF-97F2-D65075F67B53}" type="slidenum">
              <a:rPr lang="en-US" altLang="en-US" smtClean="0"/>
              <a:pPr>
                <a:defRPr/>
              </a:pPr>
              <a:t>7</a:t>
            </a:fld>
            <a:endParaRPr lang="en-US" altLang="en-US"/>
          </a:p>
        </p:txBody>
      </p:sp>
    </p:spTree>
    <p:extLst>
      <p:ext uri="{BB962C8B-B14F-4D97-AF65-F5344CB8AC3E}">
        <p14:creationId xmlns:p14="http://schemas.microsoft.com/office/powerpoint/2010/main" val="418425723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8" Type="http://schemas.openxmlformats.org/officeDocument/2006/relationships/hyperlink" Target="https://www.facebook.com/KPMGUS" TargetMode="External"/><Relationship Id="rId3" Type="http://schemas.openxmlformats.org/officeDocument/2006/relationships/image" Target="../media/image8.png"/><Relationship Id="rId7" Type="http://schemas.openxmlformats.org/officeDocument/2006/relationships/image" Target="../media/image10.emf"/><Relationship Id="rId2" Type="http://schemas.openxmlformats.org/officeDocument/2006/relationships/hyperlink" Target="http://www.youtube.com/user/KPMGMediaChannel" TargetMode="External"/><Relationship Id="rId1" Type="http://schemas.openxmlformats.org/officeDocument/2006/relationships/slideMaster" Target="../slideMasters/slideMaster2.xml"/><Relationship Id="rId6" Type="http://schemas.openxmlformats.org/officeDocument/2006/relationships/hyperlink" Target="http://twitter.com/kpmg_us" TargetMode="External"/><Relationship Id="rId11" Type="http://schemas.openxmlformats.org/officeDocument/2006/relationships/image" Target="../media/image12.emf"/><Relationship Id="rId5" Type="http://schemas.openxmlformats.org/officeDocument/2006/relationships/image" Target="../media/image9.emf"/><Relationship Id="rId10" Type="http://schemas.openxmlformats.org/officeDocument/2006/relationships/hyperlink" Target="https://plus.google.com/106458718593123764181/posts#106458718593123764181/posts" TargetMode="External"/><Relationship Id="rId4" Type="http://schemas.openxmlformats.org/officeDocument/2006/relationships/hyperlink" Target="http://www.linkedin.com/company/kpmg-us" TargetMode="External"/><Relationship Id="rId9" Type="http://schemas.openxmlformats.org/officeDocument/2006/relationships/image" Target="../media/image11.emf"/></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5.xml"/><Relationship Id="rId7" Type="http://schemas.openxmlformats.org/officeDocument/2006/relationships/image" Target="../media/image15.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4.emf"/><Relationship Id="rId5" Type="http://schemas.openxmlformats.org/officeDocument/2006/relationships/oleObject" Target="../embeddings/oleObject2.bin"/><Relationship Id="rId4"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cxnSp>
        <p:nvCxnSpPr>
          <p:cNvPr id="9" name="Straight Connector 8"/>
          <p:cNvCxnSpPr/>
          <p:nvPr userDrawn="1"/>
        </p:nvCxnSpPr>
        <p:spPr>
          <a:xfrm>
            <a:off x="3012560" y="1600201"/>
            <a:ext cx="0" cy="1956466"/>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userDrawn="1">
            <p:ph type="ctrTitle" hasCustomPrompt="1"/>
          </p:nvPr>
        </p:nvSpPr>
        <p:spPr>
          <a:xfrm>
            <a:off x="3319206" y="1717507"/>
            <a:ext cx="5594023" cy="464646"/>
          </a:xfrm>
        </p:spPr>
        <p:txBody>
          <a:bodyPr wrap="square" anchor="b" anchorCtr="0">
            <a:spAutoFit/>
          </a:bodyPr>
          <a:lstStyle>
            <a:lvl1pPr>
              <a:defRPr sz="2775" b="1" baseline="0">
                <a:solidFill>
                  <a:schemeClr val="accent1"/>
                </a:solidFill>
              </a:defRPr>
            </a:lvl1pPr>
          </a:lstStyle>
          <a:p>
            <a:r>
              <a:rPr lang="en-US" dirty="0"/>
              <a:t>&lt;Presentation Title Here&gt;</a:t>
            </a:r>
          </a:p>
        </p:txBody>
      </p:sp>
      <p:sp>
        <p:nvSpPr>
          <p:cNvPr id="19" name="Text Placeholder 18"/>
          <p:cNvSpPr>
            <a:spLocks noGrp="1"/>
          </p:cNvSpPr>
          <p:nvPr userDrawn="1">
            <p:ph type="body" sz="quarter" idx="13" hasCustomPrompt="1"/>
          </p:nvPr>
        </p:nvSpPr>
        <p:spPr>
          <a:xfrm>
            <a:off x="3319201" y="2305052"/>
            <a:ext cx="5594024" cy="406400"/>
          </a:xfrm>
          <a:prstGeom prst="rect">
            <a:avLst/>
          </a:prstGeom>
        </p:spPr>
        <p:txBody>
          <a:bodyPr/>
          <a:lstStyle>
            <a:lvl1pPr marL="0" indent="0">
              <a:buNone/>
              <a:defRPr b="1">
                <a:solidFill>
                  <a:schemeClr val="tx2"/>
                </a:solidFill>
              </a:defRPr>
            </a:lvl1pPr>
            <a:lvl2pPr marL="288815" indent="0">
              <a:buNone/>
              <a:defRPr>
                <a:solidFill>
                  <a:schemeClr val="tx1"/>
                </a:solidFill>
              </a:defRPr>
            </a:lvl2pPr>
            <a:lvl3pPr marL="569693" indent="0">
              <a:buNone/>
              <a:defRPr>
                <a:solidFill>
                  <a:schemeClr val="tx1"/>
                </a:solidFill>
              </a:defRPr>
            </a:lvl3pPr>
            <a:lvl4pPr marL="855333" indent="0">
              <a:buNone/>
              <a:defRPr>
                <a:solidFill>
                  <a:schemeClr val="tx1"/>
                </a:solidFill>
              </a:defRPr>
            </a:lvl4pPr>
            <a:lvl5pPr marL="1140972" indent="0">
              <a:buNone/>
              <a:defRPr>
                <a:solidFill>
                  <a:schemeClr val="tx1"/>
                </a:solidFill>
              </a:defRPr>
            </a:lvl5pPr>
          </a:lstStyle>
          <a:p>
            <a:pPr lvl="0"/>
            <a:r>
              <a:rPr lang="en-US" dirty="0"/>
              <a:t>&lt;Presenter Name Here&gt;</a:t>
            </a:r>
          </a:p>
        </p:txBody>
      </p:sp>
      <p:sp>
        <p:nvSpPr>
          <p:cNvPr id="21" name="Text Placeholder 20"/>
          <p:cNvSpPr>
            <a:spLocks noGrp="1"/>
          </p:cNvSpPr>
          <p:nvPr userDrawn="1">
            <p:ph type="body" sz="quarter" idx="14" hasCustomPrompt="1"/>
          </p:nvPr>
        </p:nvSpPr>
        <p:spPr>
          <a:xfrm>
            <a:off x="3318444" y="2711452"/>
            <a:ext cx="5595371" cy="374650"/>
          </a:xfrm>
          <a:prstGeom prst="rect">
            <a:avLst/>
          </a:prstGeom>
        </p:spPr>
        <p:txBody>
          <a:bodyPr>
            <a:normAutofit/>
          </a:bodyPr>
          <a:lstStyle>
            <a:lvl1pPr marL="0" indent="0">
              <a:buNone/>
              <a:defRPr sz="1350" b="0">
                <a:solidFill>
                  <a:schemeClr val="tx2"/>
                </a:solidFill>
              </a:defRPr>
            </a:lvl1pPr>
            <a:lvl2pPr marL="288815" indent="0">
              <a:buNone/>
              <a:defRPr b="0">
                <a:solidFill>
                  <a:schemeClr val="bg1"/>
                </a:solidFill>
              </a:defRPr>
            </a:lvl2pPr>
            <a:lvl3pPr marL="569693" indent="0">
              <a:buNone/>
              <a:defRPr b="0">
                <a:solidFill>
                  <a:schemeClr val="bg1"/>
                </a:solidFill>
              </a:defRPr>
            </a:lvl3pPr>
            <a:lvl4pPr marL="855333" indent="0">
              <a:buNone/>
              <a:defRPr b="0">
                <a:solidFill>
                  <a:schemeClr val="bg1"/>
                </a:solidFill>
              </a:defRPr>
            </a:lvl4pPr>
            <a:lvl5pPr marL="1140972" indent="0">
              <a:buNone/>
              <a:defRPr b="0">
                <a:solidFill>
                  <a:schemeClr val="bg1"/>
                </a:solidFill>
              </a:defRPr>
            </a:lvl5pPr>
          </a:lstStyle>
          <a:p>
            <a:pPr lvl="0"/>
            <a:r>
              <a:rPr lang="en-US" dirty="0"/>
              <a:t>&lt;Presenter Title Here&gt;</a:t>
            </a:r>
          </a:p>
        </p:txBody>
      </p:sp>
      <p:sp>
        <p:nvSpPr>
          <p:cNvPr id="23" name="Text Placeholder 22"/>
          <p:cNvSpPr>
            <a:spLocks noGrp="1"/>
          </p:cNvSpPr>
          <p:nvPr userDrawn="1">
            <p:ph type="body" sz="quarter" idx="15" hasCustomPrompt="1"/>
          </p:nvPr>
        </p:nvSpPr>
        <p:spPr>
          <a:xfrm>
            <a:off x="3318444" y="3190841"/>
            <a:ext cx="5595371" cy="311191"/>
          </a:xfrm>
          <a:prstGeom prst="rect">
            <a:avLst/>
          </a:prstGeom>
        </p:spPr>
        <p:txBody>
          <a:bodyPr>
            <a:noAutofit/>
          </a:bodyPr>
          <a:lstStyle>
            <a:lvl1pPr marL="0" indent="0">
              <a:buNone/>
              <a:defRPr sz="1050" b="0" baseline="0">
                <a:solidFill>
                  <a:schemeClr val="tx2"/>
                </a:solidFill>
              </a:defRPr>
            </a:lvl1pPr>
            <a:lvl2pPr marL="288815" indent="0">
              <a:buNone/>
              <a:defRPr sz="1425" b="0">
                <a:solidFill>
                  <a:schemeClr val="bg1"/>
                </a:solidFill>
              </a:defRPr>
            </a:lvl2pPr>
            <a:lvl3pPr marL="569693" indent="0">
              <a:buNone/>
              <a:defRPr sz="1200" b="0">
                <a:solidFill>
                  <a:schemeClr val="bg1"/>
                </a:solidFill>
              </a:defRPr>
            </a:lvl3pPr>
            <a:lvl4pPr marL="855333" indent="0">
              <a:buNone/>
              <a:defRPr sz="1125" b="0">
                <a:solidFill>
                  <a:schemeClr val="bg1"/>
                </a:solidFill>
              </a:defRPr>
            </a:lvl4pPr>
            <a:lvl5pPr marL="1140972" indent="0">
              <a:buNone/>
              <a:defRPr sz="1125" b="0">
                <a:solidFill>
                  <a:schemeClr val="bg1"/>
                </a:solidFill>
              </a:defRPr>
            </a:lvl5pPr>
          </a:lstStyle>
          <a:p>
            <a:pPr lvl="0"/>
            <a:r>
              <a:rPr lang="en-US" dirty="0"/>
              <a:t>&lt;Presentation Date Here&gt;</a:t>
            </a:r>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9506"/>
            <a:ext cx="9144000" cy="1038225"/>
          </a:xfrm>
          <a:prstGeom prst="rect">
            <a:avLst/>
          </a:prstGeom>
        </p:spPr>
      </p:pic>
      <p:pic>
        <p:nvPicPr>
          <p:cNvPr id="12" name="Picture 1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4105275"/>
            <a:ext cx="9144000" cy="1038225"/>
          </a:xfrm>
          <a:prstGeom prst="rect">
            <a:avLst/>
          </a:prstGeom>
        </p:spPr>
      </p:pic>
      <p:grpSp>
        <p:nvGrpSpPr>
          <p:cNvPr id="13" name="Group 12"/>
          <p:cNvGrpSpPr>
            <a:grpSpLocks noChangeAspect="1"/>
          </p:cNvGrpSpPr>
          <p:nvPr userDrawn="1"/>
        </p:nvGrpSpPr>
        <p:grpSpPr>
          <a:xfrm>
            <a:off x="404645" y="2144053"/>
            <a:ext cx="2301270" cy="903174"/>
            <a:chOff x="2970213" y="1633538"/>
            <a:chExt cx="3203575" cy="1257300"/>
          </a:xfrm>
        </p:grpSpPr>
        <p:sp>
          <p:nvSpPr>
            <p:cNvPr id="14" name="Freeform 8"/>
            <p:cNvSpPr>
              <a:spLocks noChangeAspect="1" noEditPoints="1"/>
            </p:cNvSpPr>
            <p:nvPr/>
          </p:nvSpPr>
          <p:spPr bwMode="auto">
            <a:xfrm>
              <a:off x="2970213" y="2641600"/>
              <a:ext cx="3203575" cy="249238"/>
            </a:xfrm>
            <a:custGeom>
              <a:avLst/>
              <a:gdLst>
                <a:gd name="T0" fmla="*/ 1991 w 33994"/>
                <a:gd name="T1" fmla="*/ 64 h 2645"/>
                <a:gd name="T2" fmla="*/ 1272 w 33994"/>
                <a:gd name="T3" fmla="*/ 555 h 2645"/>
                <a:gd name="T4" fmla="*/ 718 w 33994"/>
                <a:gd name="T5" fmla="*/ 2581 h 2645"/>
                <a:gd name="T6" fmla="*/ 0 w 33994"/>
                <a:gd name="T7" fmla="*/ 555 h 2645"/>
                <a:gd name="T8" fmla="*/ 5171 w 33994"/>
                <a:gd name="T9" fmla="*/ 1881 h 2645"/>
                <a:gd name="T10" fmla="*/ 3194 w 33994"/>
                <a:gd name="T11" fmla="*/ 2581 h 2645"/>
                <a:gd name="T12" fmla="*/ 4133 w 33994"/>
                <a:gd name="T13" fmla="*/ 64 h 2645"/>
                <a:gd name="T14" fmla="*/ 4620 w 33994"/>
                <a:gd name="T15" fmla="*/ 1258 h 2645"/>
                <a:gd name="T16" fmla="*/ 5171 w 33994"/>
                <a:gd name="T17" fmla="*/ 1881 h 2645"/>
                <a:gd name="T18" fmla="*/ 4150 w 33994"/>
                <a:gd name="T19" fmla="*/ 1070 h 2645"/>
                <a:gd name="T20" fmla="*/ 4125 w 33994"/>
                <a:gd name="T21" fmla="*/ 533 h 2645"/>
                <a:gd name="T22" fmla="*/ 3749 w 33994"/>
                <a:gd name="T23" fmla="*/ 1070 h 2645"/>
                <a:gd name="T24" fmla="*/ 4168 w 33994"/>
                <a:gd name="T25" fmla="*/ 1539 h 2645"/>
                <a:gd name="T26" fmla="*/ 3749 w 33994"/>
                <a:gd name="T27" fmla="*/ 2112 h 2645"/>
                <a:gd name="T28" fmla="*/ 4616 w 33994"/>
                <a:gd name="T29" fmla="*/ 1816 h 2645"/>
                <a:gd name="T30" fmla="*/ 7697 w 33994"/>
                <a:gd name="T31" fmla="*/ 1706 h 2645"/>
                <a:gd name="T32" fmla="*/ 6278 w 33994"/>
                <a:gd name="T33" fmla="*/ 64 h 2645"/>
                <a:gd name="T34" fmla="*/ 6833 w 33994"/>
                <a:gd name="T35" fmla="*/ 2581 h 2645"/>
                <a:gd name="T36" fmla="*/ 6840 w 33994"/>
                <a:gd name="T37" fmla="*/ 651 h 2645"/>
                <a:gd name="T38" fmla="*/ 7899 w 33994"/>
                <a:gd name="T39" fmla="*/ 2581 h 2645"/>
                <a:gd name="T40" fmla="*/ 8568 w 33994"/>
                <a:gd name="T41" fmla="*/ 651 h 2645"/>
                <a:gd name="T42" fmla="*/ 9122 w 33994"/>
                <a:gd name="T43" fmla="*/ 2581 h 2645"/>
                <a:gd name="T44" fmla="*/ 8287 w 33994"/>
                <a:gd name="T45" fmla="*/ 64 h 2645"/>
                <a:gd name="T46" fmla="*/ 13062 w 33994"/>
                <a:gd name="T47" fmla="*/ 2410 h 2645"/>
                <a:gd name="T48" fmla="*/ 13062 w 33994"/>
                <a:gd name="T49" fmla="*/ 235 h 2645"/>
                <a:gd name="T50" fmla="*/ 13933 w 33994"/>
                <a:gd name="T51" fmla="*/ 398 h 2645"/>
                <a:gd name="T52" fmla="*/ 11750 w 33994"/>
                <a:gd name="T53" fmla="*/ 1322 h 2645"/>
                <a:gd name="T54" fmla="*/ 13993 w 33994"/>
                <a:gd name="T55" fmla="*/ 2183 h 2645"/>
                <a:gd name="T56" fmla="*/ 13062 w 33994"/>
                <a:gd name="T57" fmla="*/ 2410 h 2645"/>
                <a:gd name="T58" fmla="*/ 16558 w 33994"/>
                <a:gd name="T59" fmla="*/ 2645 h 2645"/>
                <a:gd name="T60" fmla="*/ 16558 w 33994"/>
                <a:gd name="T61" fmla="*/ 0 h 2645"/>
                <a:gd name="T62" fmla="*/ 17593 w 33994"/>
                <a:gd name="T63" fmla="*/ 1322 h 2645"/>
                <a:gd name="T64" fmla="*/ 15524 w 33994"/>
                <a:gd name="T65" fmla="*/ 1322 h 2645"/>
                <a:gd name="T66" fmla="*/ 17593 w 33994"/>
                <a:gd name="T67" fmla="*/ 1322 h 2645"/>
                <a:gd name="T68" fmla="*/ 20253 w 33994"/>
                <a:gd name="T69" fmla="*/ 2410 h 2645"/>
                <a:gd name="T70" fmla="*/ 19589 w 33994"/>
                <a:gd name="T71" fmla="*/ 64 h 2645"/>
                <a:gd name="T72" fmla="*/ 19333 w 33994"/>
                <a:gd name="T73" fmla="*/ 1642 h 2645"/>
                <a:gd name="T74" fmla="*/ 21174 w 33994"/>
                <a:gd name="T75" fmla="*/ 1642 h 2645"/>
                <a:gd name="T76" fmla="*/ 20918 w 33994"/>
                <a:gd name="T77" fmla="*/ 64 h 2645"/>
                <a:gd name="T78" fmla="*/ 24777 w 33994"/>
                <a:gd name="T79" fmla="*/ 2197 h 2645"/>
                <a:gd name="T80" fmla="*/ 23270 w 33994"/>
                <a:gd name="T81" fmla="*/ 64 h 2645"/>
                <a:gd name="T82" fmla="*/ 22950 w 33994"/>
                <a:gd name="T83" fmla="*/ 2581 h 2645"/>
                <a:gd name="T84" fmla="*/ 23206 w 33994"/>
                <a:gd name="T85" fmla="*/ 427 h 2645"/>
                <a:gd name="T86" fmla="*/ 24713 w 33994"/>
                <a:gd name="T87" fmla="*/ 2581 h 2645"/>
                <a:gd name="T88" fmla="*/ 25033 w 33994"/>
                <a:gd name="T89" fmla="*/ 64 h 2645"/>
                <a:gd name="T90" fmla="*/ 24777 w 33994"/>
                <a:gd name="T91" fmla="*/ 2197 h 2645"/>
                <a:gd name="T92" fmla="*/ 26958 w 33994"/>
                <a:gd name="T93" fmla="*/ 1322 h 2645"/>
                <a:gd name="T94" fmla="*/ 28639 w 33994"/>
                <a:gd name="T95" fmla="*/ 565 h 2645"/>
                <a:gd name="T96" fmla="*/ 27992 w 33994"/>
                <a:gd name="T97" fmla="*/ 0 h 2645"/>
                <a:gd name="T98" fmla="*/ 27992 w 33994"/>
                <a:gd name="T99" fmla="*/ 2645 h 2645"/>
                <a:gd name="T100" fmla="*/ 28714 w 33994"/>
                <a:gd name="T101" fmla="*/ 2033 h 2645"/>
                <a:gd name="T102" fmla="*/ 30490 w 33994"/>
                <a:gd name="T103" fmla="*/ 2581 h 2645"/>
                <a:gd name="T104" fmla="*/ 30746 w 33994"/>
                <a:gd name="T105" fmla="*/ 64 h 2645"/>
                <a:gd name="T106" fmla="*/ 30490 w 33994"/>
                <a:gd name="T107" fmla="*/ 2581 h 2645"/>
                <a:gd name="T108" fmla="*/ 32820 w 33994"/>
                <a:gd name="T109" fmla="*/ 64 h 2645"/>
                <a:gd name="T110" fmla="*/ 32565 w 33994"/>
                <a:gd name="T111" fmla="*/ 2581 h 2645"/>
                <a:gd name="T112" fmla="*/ 33994 w 33994"/>
                <a:gd name="T113" fmla="*/ 2346 h 2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994" h="2645">
                  <a:moveTo>
                    <a:pt x="0" y="64"/>
                  </a:moveTo>
                  <a:cubicBezTo>
                    <a:pt x="1991" y="64"/>
                    <a:pt x="1991" y="64"/>
                    <a:pt x="1991" y="64"/>
                  </a:cubicBezTo>
                  <a:cubicBezTo>
                    <a:pt x="1991" y="555"/>
                    <a:pt x="1991" y="555"/>
                    <a:pt x="1991" y="555"/>
                  </a:cubicBezTo>
                  <a:cubicBezTo>
                    <a:pt x="1272" y="555"/>
                    <a:pt x="1272" y="555"/>
                    <a:pt x="1272" y="555"/>
                  </a:cubicBezTo>
                  <a:cubicBezTo>
                    <a:pt x="1272" y="2581"/>
                    <a:pt x="1272" y="2581"/>
                    <a:pt x="1272" y="2581"/>
                  </a:cubicBezTo>
                  <a:cubicBezTo>
                    <a:pt x="718" y="2581"/>
                    <a:pt x="718" y="2581"/>
                    <a:pt x="718" y="2581"/>
                  </a:cubicBezTo>
                  <a:cubicBezTo>
                    <a:pt x="718" y="555"/>
                    <a:pt x="718" y="555"/>
                    <a:pt x="718" y="555"/>
                  </a:cubicBezTo>
                  <a:cubicBezTo>
                    <a:pt x="0" y="555"/>
                    <a:pt x="0" y="555"/>
                    <a:pt x="0" y="555"/>
                  </a:cubicBezTo>
                  <a:lnTo>
                    <a:pt x="0" y="64"/>
                  </a:lnTo>
                  <a:close/>
                  <a:moveTo>
                    <a:pt x="5171" y="1881"/>
                  </a:moveTo>
                  <a:cubicBezTo>
                    <a:pt x="5171" y="2407"/>
                    <a:pt x="4673" y="2581"/>
                    <a:pt x="4225" y="2581"/>
                  </a:cubicBezTo>
                  <a:cubicBezTo>
                    <a:pt x="3194" y="2581"/>
                    <a:pt x="3194" y="2581"/>
                    <a:pt x="3194" y="2581"/>
                  </a:cubicBezTo>
                  <a:cubicBezTo>
                    <a:pt x="3194" y="64"/>
                    <a:pt x="3194" y="64"/>
                    <a:pt x="3194" y="64"/>
                  </a:cubicBezTo>
                  <a:cubicBezTo>
                    <a:pt x="4133" y="64"/>
                    <a:pt x="4133" y="64"/>
                    <a:pt x="4133" y="64"/>
                  </a:cubicBezTo>
                  <a:cubicBezTo>
                    <a:pt x="4573" y="64"/>
                    <a:pt x="5053" y="156"/>
                    <a:pt x="5053" y="704"/>
                  </a:cubicBezTo>
                  <a:cubicBezTo>
                    <a:pt x="5053" y="985"/>
                    <a:pt x="4879" y="1177"/>
                    <a:pt x="4620" y="1258"/>
                  </a:cubicBezTo>
                  <a:cubicBezTo>
                    <a:pt x="4620" y="1265"/>
                    <a:pt x="4620" y="1265"/>
                    <a:pt x="4620" y="1265"/>
                  </a:cubicBezTo>
                  <a:cubicBezTo>
                    <a:pt x="4950" y="1308"/>
                    <a:pt x="5171" y="1553"/>
                    <a:pt x="5171" y="1881"/>
                  </a:cubicBezTo>
                  <a:close/>
                  <a:moveTo>
                    <a:pt x="3749" y="1070"/>
                  </a:moveTo>
                  <a:cubicBezTo>
                    <a:pt x="4150" y="1070"/>
                    <a:pt x="4150" y="1070"/>
                    <a:pt x="4150" y="1070"/>
                  </a:cubicBezTo>
                  <a:cubicBezTo>
                    <a:pt x="4321" y="1070"/>
                    <a:pt x="4499" y="999"/>
                    <a:pt x="4499" y="796"/>
                  </a:cubicBezTo>
                  <a:cubicBezTo>
                    <a:pt x="4499" y="586"/>
                    <a:pt x="4300" y="533"/>
                    <a:pt x="4125" y="533"/>
                  </a:cubicBezTo>
                  <a:cubicBezTo>
                    <a:pt x="3749" y="533"/>
                    <a:pt x="3749" y="533"/>
                    <a:pt x="3749" y="533"/>
                  </a:cubicBezTo>
                  <a:lnTo>
                    <a:pt x="3749" y="1070"/>
                  </a:lnTo>
                  <a:close/>
                  <a:moveTo>
                    <a:pt x="4616" y="1816"/>
                  </a:moveTo>
                  <a:cubicBezTo>
                    <a:pt x="4616" y="1578"/>
                    <a:pt x="4349" y="1539"/>
                    <a:pt x="4168" y="1539"/>
                  </a:cubicBezTo>
                  <a:cubicBezTo>
                    <a:pt x="3749" y="1539"/>
                    <a:pt x="3749" y="1539"/>
                    <a:pt x="3749" y="1539"/>
                  </a:cubicBezTo>
                  <a:cubicBezTo>
                    <a:pt x="3749" y="2112"/>
                    <a:pt x="3749" y="2112"/>
                    <a:pt x="3749" y="2112"/>
                  </a:cubicBezTo>
                  <a:cubicBezTo>
                    <a:pt x="4246" y="2112"/>
                    <a:pt x="4246" y="2112"/>
                    <a:pt x="4246" y="2112"/>
                  </a:cubicBezTo>
                  <a:cubicBezTo>
                    <a:pt x="4421" y="2112"/>
                    <a:pt x="4616" y="2037"/>
                    <a:pt x="4616" y="1816"/>
                  </a:cubicBezTo>
                  <a:close/>
                  <a:moveTo>
                    <a:pt x="7704" y="1706"/>
                  </a:moveTo>
                  <a:cubicBezTo>
                    <a:pt x="7697" y="1706"/>
                    <a:pt x="7697" y="1706"/>
                    <a:pt x="7697" y="1706"/>
                  </a:cubicBezTo>
                  <a:cubicBezTo>
                    <a:pt x="7117" y="64"/>
                    <a:pt x="7117" y="64"/>
                    <a:pt x="7117" y="64"/>
                  </a:cubicBezTo>
                  <a:cubicBezTo>
                    <a:pt x="6278" y="64"/>
                    <a:pt x="6278" y="64"/>
                    <a:pt x="6278" y="64"/>
                  </a:cubicBezTo>
                  <a:cubicBezTo>
                    <a:pt x="6278" y="2581"/>
                    <a:pt x="6278" y="2581"/>
                    <a:pt x="6278" y="2581"/>
                  </a:cubicBezTo>
                  <a:cubicBezTo>
                    <a:pt x="6833" y="2581"/>
                    <a:pt x="6833" y="2581"/>
                    <a:pt x="6833" y="2581"/>
                  </a:cubicBezTo>
                  <a:cubicBezTo>
                    <a:pt x="6833" y="651"/>
                    <a:pt x="6833" y="651"/>
                    <a:pt x="6833" y="651"/>
                  </a:cubicBezTo>
                  <a:cubicBezTo>
                    <a:pt x="6840" y="651"/>
                    <a:pt x="6840" y="651"/>
                    <a:pt x="6840" y="651"/>
                  </a:cubicBezTo>
                  <a:cubicBezTo>
                    <a:pt x="7476" y="2581"/>
                    <a:pt x="7476" y="2581"/>
                    <a:pt x="7476" y="2581"/>
                  </a:cubicBezTo>
                  <a:cubicBezTo>
                    <a:pt x="7899" y="2581"/>
                    <a:pt x="7899" y="2581"/>
                    <a:pt x="7899" y="2581"/>
                  </a:cubicBezTo>
                  <a:cubicBezTo>
                    <a:pt x="8560" y="651"/>
                    <a:pt x="8560" y="651"/>
                    <a:pt x="8560" y="651"/>
                  </a:cubicBezTo>
                  <a:cubicBezTo>
                    <a:pt x="8568" y="651"/>
                    <a:pt x="8568" y="651"/>
                    <a:pt x="8568" y="651"/>
                  </a:cubicBezTo>
                  <a:cubicBezTo>
                    <a:pt x="8568" y="2581"/>
                    <a:pt x="8568" y="2581"/>
                    <a:pt x="8568" y="2581"/>
                  </a:cubicBezTo>
                  <a:cubicBezTo>
                    <a:pt x="9122" y="2581"/>
                    <a:pt x="9122" y="2581"/>
                    <a:pt x="9122" y="2581"/>
                  </a:cubicBezTo>
                  <a:cubicBezTo>
                    <a:pt x="9122" y="64"/>
                    <a:pt x="9122" y="64"/>
                    <a:pt x="9122" y="64"/>
                  </a:cubicBezTo>
                  <a:cubicBezTo>
                    <a:pt x="8287" y="64"/>
                    <a:pt x="8287" y="64"/>
                    <a:pt x="8287" y="64"/>
                  </a:cubicBezTo>
                  <a:lnTo>
                    <a:pt x="7704" y="1706"/>
                  </a:lnTo>
                  <a:close/>
                  <a:moveTo>
                    <a:pt x="13062" y="2410"/>
                  </a:moveTo>
                  <a:cubicBezTo>
                    <a:pt x="12415" y="2410"/>
                    <a:pt x="12027" y="1902"/>
                    <a:pt x="12027" y="1322"/>
                  </a:cubicBezTo>
                  <a:cubicBezTo>
                    <a:pt x="12027" y="743"/>
                    <a:pt x="12415" y="235"/>
                    <a:pt x="13062" y="235"/>
                  </a:cubicBezTo>
                  <a:cubicBezTo>
                    <a:pt x="13328" y="235"/>
                    <a:pt x="13609" y="402"/>
                    <a:pt x="13709" y="565"/>
                  </a:cubicBezTo>
                  <a:cubicBezTo>
                    <a:pt x="13933" y="398"/>
                    <a:pt x="13933" y="398"/>
                    <a:pt x="13933" y="398"/>
                  </a:cubicBezTo>
                  <a:cubicBezTo>
                    <a:pt x="13712" y="117"/>
                    <a:pt x="13375" y="0"/>
                    <a:pt x="13062" y="0"/>
                  </a:cubicBezTo>
                  <a:cubicBezTo>
                    <a:pt x="12312" y="0"/>
                    <a:pt x="11750" y="558"/>
                    <a:pt x="11750" y="1322"/>
                  </a:cubicBezTo>
                  <a:cubicBezTo>
                    <a:pt x="11750" y="2087"/>
                    <a:pt x="12312" y="2645"/>
                    <a:pt x="13062" y="2645"/>
                  </a:cubicBezTo>
                  <a:cubicBezTo>
                    <a:pt x="13478" y="2645"/>
                    <a:pt x="13826" y="2442"/>
                    <a:pt x="13993" y="2183"/>
                  </a:cubicBezTo>
                  <a:cubicBezTo>
                    <a:pt x="13783" y="2033"/>
                    <a:pt x="13783" y="2033"/>
                    <a:pt x="13783" y="2033"/>
                  </a:cubicBezTo>
                  <a:cubicBezTo>
                    <a:pt x="13595" y="2325"/>
                    <a:pt x="13325" y="2410"/>
                    <a:pt x="13062" y="2410"/>
                  </a:cubicBezTo>
                  <a:close/>
                  <a:moveTo>
                    <a:pt x="17870" y="1322"/>
                  </a:moveTo>
                  <a:cubicBezTo>
                    <a:pt x="17870" y="2087"/>
                    <a:pt x="17308" y="2645"/>
                    <a:pt x="16558" y="2645"/>
                  </a:cubicBezTo>
                  <a:cubicBezTo>
                    <a:pt x="15808" y="2645"/>
                    <a:pt x="15247" y="2087"/>
                    <a:pt x="15247" y="1322"/>
                  </a:cubicBezTo>
                  <a:cubicBezTo>
                    <a:pt x="15247" y="558"/>
                    <a:pt x="15808" y="0"/>
                    <a:pt x="16558" y="0"/>
                  </a:cubicBezTo>
                  <a:cubicBezTo>
                    <a:pt x="17308" y="0"/>
                    <a:pt x="17870" y="558"/>
                    <a:pt x="17870" y="1322"/>
                  </a:cubicBezTo>
                  <a:close/>
                  <a:moveTo>
                    <a:pt x="17593" y="1322"/>
                  </a:moveTo>
                  <a:cubicBezTo>
                    <a:pt x="17593" y="743"/>
                    <a:pt x="17205" y="235"/>
                    <a:pt x="16558" y="235"/>
                  </a:cubicBezTo>
                  <a:cubicBezTo>
                    <a:pt x="15911" y="235"/>
                    <a:pt x="15524" y="743"/>
                    <a:pt x="15524" y="1322"/>
                  </a:cubicBezTo>
                  <a:cubicBezTo>
                    <a:pt x="15524" y="1902"/>
                    <a:pt x="15911" y="2410"/>
                    <a:pt x="16558" y="2410"/>
                  </a:cubicBezTo>
                  <a:cubicBezTo>
                    <a:pt x="17205" y="2410"/>
                    <a:pt x="17593" y="1902"/>
                    <a:pt x="17593" y="1322"/>
                  </a:cubicBezTo>
                  <a:close/>
                  <a:moveTo>
                    <a:pt x="20918" y="1614"/>
                  </a:moveTo>
                  <a:cubicBezTo>
                    <a:pt x="20918" y="2339"/>
                    <a:pt x="20445" y="2410"/>
                    <a:pt x="20253" y="2410"/>
                  </a:cubicBezTo>
                  <a:cubicBezTo>
                    <a:pt x="20061" y="2410"/>
                    <a:pt x="19589" y="2339"/>
                    <a:pt x="19589" y="1614"/>
                  </a:cubicBezTo>
                  <a:cubicBezTo>
                    <a:pt x="19589" y="64"/>
                    <a:pt x="19589" y="64"/>
                    <a:pt x="19589" y="64"/>
                  </a:cubicBezTo>
                  <a:cubicBezTo>
                    <a:pt x="19333" y="64"/>
                    <a:pt x="19333" y="64"/>
                    <a:pt x="19333" y="64"/>
                  </a:cubicBezTo>
                  <a:cubicBezTo>
                    <a:pt x="19333" y="1642"/>
                    <a:pt x="19333" y="1642"/>
                    <a:pt x="19333" y="1642"/>
                  </a:cubicBezTo>
                  <a:cubicBezTo>
                    <a:pt x="19333" y="2062"/>
                    <a:pt x="19500" y="2645"/>
                    <a:pt x="20253" y="2645"/>
                  </a:cubicBezTo>
                  <a:cubicBezTo>
                    <a:pt x="21007" y="2645"/>
                    <a:pt x="21174" y="2062"/>
                    <a:pt x="21174" y="1642"/>
                  </a:cubicBezTo>
                  <a:cubicBezTo>
                    <a:pt x="21174" y="64"/>
                    <a:pt x="21174" y="64"/>
                    <a:pt x="21174" y="64"/>
                  </a:cubicBezTo>
                  <a:cubicBezTo>
                    <a:pt x="20918" y="64"/>
                    <a:pt x="20918" y="64"/>
                    <a:pt x="20918" y="64"/>
                  </a:cubicBezTo>
                  <a:lnTo>
                    <a:pt x="20918" y="1614"/>
                  </a:lnTo>
                  <a:close/>
                  <a:moveTo>
                    <a:pt x="24777" y="2197"/>
                  </a:moveTo>
                  <a:cubicBezTo>
                    <a:pt x="24770" y="2197"/>
                    <a:pt x="24770" y="2197"/>
                    <a:pt x="24770" y="2197"/>
                  </a:cubicBezTo>
                  <a:cubicBezTo>
                    <a:pt x="23270" y="64"/>
                    <a:pt x="23270" y="64"/>
                    <a:pt x="23270" y="64"/>
                  </a:cubicBezTo>
                  <a:cubicBezTo>
                    <a:pt x="22950" y="64"/>
                    <a:pt x="22950" y="64"/>
                    <a:pt x="22950" y="64"/>
                  </a:cubicBezTo>
                  <a:cubicBezTo>
                    <a:pt x="22950" y="2581"/>
                    <a:pt x="22950" y="2581"/>
                    <a:pt x="22950" y="2581"/>
                  </a:cubicBezTo>
                  <a:cubicBezTo>
                    <a:pt x="23206" y="2581"/>
                    <a:pt x="23206" y="2581"/>
                    <a:pt x="23206" y="2581"/>
                  </a:cubicBezTo>
                  <a:cubicBezTo>
                    <a:pt x="23206" y="427"/>
                    <a:pt x="23206" y="427"/>
                    <a:pt x="23206" y="427"/>
                  </a:cubicBezTo>
                  <a:cubicBezTo>
                    <a:pt x="23213" y="427"/>
                    <a:pt x="23213" y="427"/>
                    <a:pt x="23213" y="427"/>
                  </a:cubicBezTo>
                  <a:cubicBezTo>
                    <a:pt x="24713" y="2581"/>
                    <a:pt x="24713" y="2581"/>
                    <a:pt x="24713" y="2581"/>
                  </a:cubicBezTo>
                  <a:cubicBezTo>
                    <a:pt x="25033" y="2581"/>
                    <a:pt x="25033" y="2581"/>
                    <a:pt x="25033" y="2581"/>
                  </a:cubicBezTo>
                  <a:cubicBezTo>
                    <a:pt x="25033" y="64"/>
                    <a:pt x="25033" y="64"/>
                    <a:pt x="25033" y="64"/>
                  </a:cubicBezTo>
                  <a:cubicBezTo>
                    <a:pt x="24777" y="64"/>
                    <a:pt x="24777" y="64"/>
                    <a:pt x="24777" y="64"/>
                  </a:cubicBezTo>
                  <a:lnTo>
                    <a:pt x="24777" y="2197"/>
                  </a:lnTo>
                  <a:close/>
                  <a:moveTo>
                    <a:pt x="27992" y="2410"/>
                  </a:moveTo>
                  <a:cubicBezTo>
                    <a:pt x="27345" y="2410"/>
                    <a:pt x="26958" y="1902"/>
                    <a:pt x="26958" y="1322"/>
                  </a:cubicBezTo>
                  <a:cubicBezTo>
                    <a:pt x="26958" y="743"/>
                    <a:pt x="27345" y="235"/>
                    <a:pt x="27992" y="235"/>
                  </a:cubicBezTo>
                  <a:cubicBezTo>
                    <a:pt x="28259" y="235"/>
                    <a:pt x="28540" y="402"/>
                    <a:pt x="28639" y="565"/>
                  </a:cubicBezTo>
                  <a:cubicBezTo>
                    <a:pt x="28863" y="398"/>
                    <a:pt x="28863" y="398"/>
                    <a:pt x="28863" y="398"/>
                  </a:cubicBezTo>
                  <a:cubicBezTo>
                    <a:pt x="28643" y="117"/>
                    <a:pt x="28305" y="0"/>
                    <a:pt x="27992" y="0"/>
                  </a:cubicBezTo>
                  <a:cubicBezTo>
                    <a:pt x="27242" y="0"/>
                    <a:pt x="26680" y="558"/>
                    <a:pt x="26680" y="1322"/>
                  </a:cubicBezTo>
                  <a:cubicBezTo>
                    <a:pt x="26680" y="2087"/>
                    <a:pt x="27242" y="2645"/>
                    <a:pt x="27992" y="2645"/>
                  </a:cubicBezTo>
                  <a:cubicBezTo>
                    <a:pt x="28408" y="2645"/>
                    <a:pt x="28757" y="2442"/>
                    <a:pt x="28924" y="2183"/>
                  </a:cubicBezTo>
                  <a:cubicBezTo>
                    <a:pt x="28714" y="2033"/>
                    <a:pt x="28714" y="2033"/>
                    <a:pt x="28714" y="2033"/>
                  </a:cubicBezTo>
                  <a:cubicBezTo>
                    <a:pt x="28526" y="2325"/>
                    <a:pt x="28255" y="2410"/>
                    <a:pt x="27992" y="2410"/>
                  </a:cubicBezTo>
                  <a:close/>
                  <a:moveTo>
                    <a:pt x="30490" y="2581"/>
                  </a:moveTo>
                  <a:cubicBezTo>
                    <a:pt x="30746" y="2581"/>
                    <a:pt x="30746" y="2581"/>
                    <a:pt x="30746" y="2581"/>
                  </a:cubicBezTo>
                  <a:cubicBezTo>
                    <a:pt x="30746" y="64"/>
                    <a:pt x="30746" y="64"/>
                    <a:pt x="30746" y="64"/>
                  </a:cubicBezTo>
                  <a:cubicBezTo>
                    <a:pt x="30490" y="64"/>
                    <a:pt x="30490" y="64"/>
                    <a:pt x="30490" y="64"/>
                  </a:cubicBezTo>
                  <a:lnTo>
                    <a:pt x="30490" y="2581"/>
                  </a:lnTo>
                  <a:close/>
                  <a:moveTo>
                    <a:pt x="32820" y="2346"/>
                  </a:moveTo>
                  <a:cubicBezTo>
                    <a:pt x="32820" y="64"/>
                    <a:pt x="32820" y="64"/>
                    <a:pt x="32820" y="64"/>
                  </a:cubicBezTo>
                  <a:cubicBezTo>
                    <a:pt x="32565" y="64"/>
                    <a:pt x="32565" y="64"/>
                    <a:pt x="32565" y="64"/>
                  </a:cubicBezTo>
                  <a:cubicBezTo>
                    <a:pt x="32565" y="2581"/>
                    <a:pt x="32565" y="2581"/>
                    <a:pt x="32565" y="2581"/>
                  </a:cubicBezTo>
                  <a:cubicBezTo>
                    <a:pt x="33994" y="2581"/>
                    <a:pt x="33994" y="2581"/>
                    <a:pt x="33994" y="2581"/>
                  </a:cubicBezTo>
                  <a:cubicBezTo>
                    <a:pt x="33994" y="2346"/>
                    <a:pt x="33994" y="2346"/>
                    <a:pt x="33994" y="2346"/>
                  </a:cubicBezTo>
                  <a:lnTo>
                    <a:pt x="32820" y="234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9"/>
            <p:cNvSpPr>
              <a:spLocks noChangeAspect="1"/>
            </p:cNvSpPr>
            <p:nvPr/>
          </p:nvSpPr>
          <p:spPr bwMode="auto">
            <a:xfrm>
              <a:off x="4230688" y="1774825"/>
              <a:ext cx="546100" cy="533400"/>
            </a:xfrm>
            <a:custGeom>
              <a:avLst/>
              <a:gdLst>
                <a:gd name="T0" fmla="*/ 209 w 344"/>
                <a:gd name="T1" fmla="*/ 0 h 336"/>
                <a:gd name="T2" fmla="*/ 0 w 344"/>
                <a:gd name="T3" fmla="*/ 0 h 336"/>
                <a:gd name="T4" fmla="*/ 0 w 344"/>
                <a:gd name="T5" fmla="*/ 336 h 336"/>
                <a:gd name="T6" fmla="*/ 344 w 344"/>
                <a:gd name="T7" fmla="*/ 336 h 336"/>
                <a:gd name="T8" fmla="*/ 344 w 344"/>
                <a:gd name="T9" fmla="*/ 132 h 336"/>
                <a:gd name="T10" fmla="*/ 209 w 344"/>
                <a:gd name="T11" fmla="*/ 132 h 336"/>
                <a:gd name="T12" fmla="*/ 209 w 344"/>
                <a:gd name="T13" fmla="*/ 0 h 336"/>
                <a:gd name="T14" fmla="*/ 209 w 344"/>
                <a:gd name="T15" fmla="*/ 0 h 3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4" h="336">
                  <a:moveTo>
                    <a:pt x="209" y="0"/>
                  </a:moveTo>
                  <a:lnTo>
                    <a:pt x="0" y="0"/>
                  </a:lnTo>
                  <a:lnTo>
                    <a:pt x="0" y="336"/>
                  </a:lnTo>
                  <a:lnTo>
                    <a:pt x="344" y="336"/>
                  </a:lnTo>
                  <a:lnTo>
                    <a:pt x="344" y="132"/>
                  </a:lnTo>
                  <a:lnTo>
                    <a:pt x="209" y="132"/>
                  </a:lnTo>
                  <a:lnTo>
                    <a:pt x="209" y="0"/>
                  </a:lnTo>
                  <a:lnTo>
                    <a:pt x="209" y="0"/>
                  </a:lnTo>
                  <a:close/>
                </a:path>
              </a:pathLst>
            </a:custGeom>
            <a:solidFill>
              <a:srgbClr val="F899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0"/>
            <p:cNvSpPr>
              <a:spLocks noChangeAspect="1"/>
            </p:cNvSpPr>
            <p:nvPr/>
          </p:nvSpPr>
          <p:spPr bwMode="auto">
            <a:xfrm>
              <a:off x="4562475" y="1633538"/>
              <a:ext cx="350838" cy="350838"/>
            </a:xfrm>
            <a:custGeom>
              <a:avLst/>
              <a:gdLst>
                <a:gd name="T0" fmla="*/ 221 w 221"/>
                <a:gd name="T1" fmla="*/ 0 h 221"/>
                <a:gd name="T2" fmla="*/ 0 w 221"/>
                <a:gd name="T3" fmla="*/ 0 h 221"/>
                <a:gd name="T4" fmla="*/ 0 w 221"/>
                <a:gd name="T5" fmla="*/ 89 h 221"/>
                <a:gd name="T6" fmla="*/ 135 w 221"/>
                <a:gd name="T7" fmla="*/ 89 h 221"/>
                <a:gd name="T8" fmla="*/ 135 w 221"/>
                <a:gd name="T9" fmla="*/ 221 h 221"/>
                <a:gd name="T10" fmla="*/ 221 w 221"/>
                <a:gd name="T11" fmla="*/ 221 h 221"/>
                <a:gd name="T12" fmla="*/ 221 w 221"/>
                <a:gd name="T13" fmla="*/ 0 h 221"/>
                <a:gd name="T14" fmla="*/ 221 w 221"/>
                <a:gd name="T15" fmla="*/ 0 h 2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1" h="221">
                  <a:moveTo>
                    <a:pt x="221" y="0"/>
                  </a:moveTo>
                  <a:lnTo>
                    <a:pt x="0" y="0"/>
                  </a:lnTo>
                  <a:lnTo>
                    <a:pt x="0" y="89"/>
                  </a:lnTo>
                  <a:lnTo>
                    <a:pt x="135" y="89"/>
                  </a:lnTo>
                  <a:lnTo>
                    <a:pt x="135" y="221"/>
                  </a:lnTo>
                  <a:lnTo>
                    <a:pt x="221" y="221"/>
                  </a:lnTo>
                  <a:lnTo>
                    <a:pt x="221" y="0"/>
                  </a:lnTo>
                  <a:lnTo>
                    <a:pt x="221" y="0"/>
                  </a:lnTo>
                  <a:close/>
                </a:path>
              </a:pathLst>
            </a:custGeom>
            <a:solidFill>
              <a:srgbClr val="F168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772109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arge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1" y="819150"/>
            <a:ext cx="8229601" cy="365760"/>
          </a:xfrm>
          <a:prstGeom prst="rect">
            <a:avLst/>
          </a:prstGeom>
        </p:spPr>
        <p:txBody>
          <a:bodyPr anchor="t" anchorCtr="0">
            <a:noAutofit/>
          </a:bodyPr>
          <a:lstStyle>
            <a:lvl1pPr marL="0" indent="0">
              <a:buNone/>
              <a:defRPr sz="2400" b="0">
                <a:solidFill>
                  <a:schemeClr val="accent1"/>
                </a:solidFill>
              </a:defRPr>
            </a:lvl1pPr>
            <a:lvl2pPr marL="456854" indent="0">
              <a:buNone/>
              <a:defRPr sz="2025" b="1"/>
            </a:lvl2pPr>
            <a:lvl3pPr marL="913708" indent="0">
              <a:buNone/>
              <a:defRPr sz="1800" b="1"/>
            </a:lvl3pPr>
            <a:lvl4pPr marL="1370562" indent="0">
              <a:buNone/>
              <a:defRPr sz="1575" b="1"/>
            </a:lvl4pPr>
            <a:lvl5pPr marL="1827413" indent="0">
              <a:buNone/>
              <a:defRPr sz="1575" b="1"/>
            </a:lvl5pPr>
            <a:lvl6pPr marL="2284262" indent="0">
              <a:buNone/>
              <a:defRPr sz="1575" b="1"/>
            </a:lvl6pPr>
            <a:lvl7pPr marL="2741123" indent="0">
              <a:buNone/>
              <a:defRPr sz="1575" b="1"/>
            </a:lvl7pPr>
            <a:lvl8pPr marL="3197972" indent="0">
              <a:buNone/>
              <a:defRPr sz="1575" b="1"/>
            </a:lvl8pPr>
            <a:lvl9pPr marL="3654822" indent="0">
              <a:buNone/>
              <a:defRPr sz="1575" b="1"/>
            </a:lvl9pPr>
          </a:lstStyle>
          <a:p>
            <a:pPr lvl="0"/>
            <a:r>
              <a:rPr lang="en-US"/>
              <a:t>Click to edit Master text styles</a:t>
            </a:r>
          </a:p>
        </p:txBody>
      </p:sp>
      <p:sp>
        <p:nvSpPr>
          <p:cNvPr id="12" name="Chart Placeholder 11"/>
          <p:cNvSpPr>
            <a:spLocks noGrp="1"/>
          </p:cNvSpPr>
          <p:nvPr>
            <p:ph type="chart" sz="quarter" idx="11"/>
          </p:nvPr>
        </p:nvSpPr>
        <p:spPr>
          <a:xfrm>
            <a:off x="457201" y="1292241"/>
            <a:ext cx="8229601" cy="3336925"/>
          </a:xfrm>
          <a:prstGeom prst="rect">
            <a:avLst/>
          </a:prstGeom>
        </p:spPr>
        <p:txBody>
          <a:bodyPr vert="horz" lIns="0" tIns="0" rIns="0" bIns="0" rtlCol="0">
            <a:normAutofit/>
          </a:bodyPr>
          <a:lstStyle>
            <a:lvl1pPr>
              <a:defRPr lang="en-US"/>
            </a:lvl1pPr>
          </a:lstStyle>
          <a:p>
            <a:pPr lvl="0"/>
            <a:r>
              <a:rPr lang="en-US"/>
              <a:t>Click icon to add chart</a:t>
            </a:r>
          </a:p>
        </p:txBody>
      </p:sp>
    </p:spTree>
    <p:extLst>
      <p:ext uri="{BB962C8B-B14F-4D97-AF65-F5344CB8AC3E}">
        <p14:creationId xmlns:p14="http://schemas.microsoft.com/office/powerpoint/2010/main" val="3313999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2601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210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randing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title"/>
          </p:nvPr>
        </p:nvSpPr>
        <p:spPr>
          <a:xfrm>
            <a:off x="3836357" y="2266950"/>
            <a:ext cx="4850446" cy="520045"/>
          </a:xfrm>
        </p:spPr>
        <p:txBody>
          <a:bodyPr anchor="ctr" anchorCtr="0">
            <a:spAutoFit/>
          </a:bodyPr>
          <a:lstStyle>
            <a:lvl1pPr>
              <a:defRPr>
                <a:solidFill>
                  <a:srgbClr val="FFFFFF"/>
                </a:solidFill>
              </a:defRPr>
            </a:lvl1pPr>
          </a:lstStyle>
          <a:p>
            <a:r>
              <a:rPr lang="en-US"/>
              <a:t>Click to edit Master title style</a:t>
            </a:r>
            <a:endParaRPr lang="en-US" dirty="0"/>
          </a:p>
        </p:txBody>
      </p:sp>
      <p:grpSp>
        <p:nvGrpSpPr>
          <p:cNvPr id="6" name="Group 5"/>
          <p:cNvGrpSpPr/>
          <p:nvPr userDrawn="1"/>
        </p:nvGrpSpPr>
        <p:grpSpPr>
          <a:xfrm>
            <a:off x="-1143000" y="509553"/>
            <a:ext cx="4172909" cy="4124394"/>
            <a:chOff x="1694491" y="3522260"/>
            <a:chExt cx="490359" cy="484658"/>
          </a:xfrm>
        </p:grpSpPr>
        <p:sp>
          <p:nvSpPr>
            <p:cNvPr id="10" name="Freeform 9"/>
            <p:cNvSpPr>
              <a:spLocks noChangeAspect="1"/>
            </p:cNvSpPr>
            <p:nvPr/>
          </p:nvSpPr>
          <p:spPr bwMode="auto">
            <a:xfrm>
              <a:off x="1694491" y="3623753"/>
              <a:ext cx="392288" cy="383165"/>
            </a:xfrm>
            <a:custGeom>
              <a:avLst/>
              <a:gdLst>
                <a:gd name="T0" fmla="*/ 209 w 344"/>
                <a:gd name="T1" fmla="*/ 0 h 336"/>
                <a:gd name="T2" fmla="*/ 0 w 344"/>
                <a:gd name="T3" fmla="*/ 0 h 336"/>
                <a:gd name="T4" fmla="*/ 0 w 344"/>
                <a:gd name="T5" fmla="*/ 336 h 336"/>
                <a:gd name="T6" fmla="*/ 344 w 344"/>
                <a:gd name="T7" fmla="*/ 336 h 336"/>
                <a:gd name="T8" fmla="*/ 344 w 344"/>
                <a:gd name="T9" fmla="*/ 132 h 336"/>
                <a:gd name="T10" fmla="*/ 209 w 344"/>
                <a:gd name="T11" fmla="*/ 132 h 336"/>
                <a:gd name="T12" fmla="*/ 209 w 344"/>
                <a:gd name="T13" fmla="*/ 0 h 336"/>
                <a:gd name="T14" fmla="*/ 209 w 344"/>
                <a:gd name="T15" fmla="*/ 0 h 3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4" h="336">
                  <a:moveTo>
                    <a:pt x="209" y="0"/>
                  </a:moveTo>
                  <a:lnTo>
                    <a:pt x="0" y="0"/>
                  </a:lnTo>
                  <a:lnTo>
                    <a:pt x="0" y="336"/>
                  </a:lnTo>
                  <a:lnTo>
                    <a:pt x="344" y="336"/>
                  </a:lnTo>
                  <a:lnTo>
                    <a:pt x="344" y="132"/>
                  </a:lnTo>
                  <a:lnTo>
                    <a:pt x="209" y="132"/>
                  </a:lnTo>
                  <a:lnTo>
                    <a:pt x="209" y="0"/>
                  </a:lnTo>
                  <a:lnTo>
                    <a:pt x="209" y="0"/>
                  </a:lnTo>
                  <a:close/>
                </a:path>
              </a:pathLst>
            </a:custGeom>
            <a:noFill/>
            <a:ln w="31750">
              <a:solidFill>
                <a:srgbClr val="FFCC66">
                  <a:alpha val="55686"/>
                </a:srgbClr>
              </a:solidFill>
            </a:ln>
            <a:extLst/>
          </p:spPr>
          <p:txBody>
            <a:bodyPr vert="horz" wrap="square" lIns="91440" tIns="45720" rIns="91440" bIns="45720" numCol="1" anchor="t" anchorCtr="0" compatLnSpc="1">
              <a:prstTxWarp prst="textNoShape">
                <a:avLst/>
              </a:prstTxWarp>
            </a:bodyPr>
            <a:lstStyle/>
            <a:p>
              <a:endParaRPr lang="en-US"/>
            </a:p>
          </p:txBody>
        </p:sp>
        <p:sp>
          <p:nvSpPr>
            <p:cNvPr id="11" name="Freeform 10"/>
            <p:cNvSpPr>
              <a:spLocks noChangeAspect="1"/>
            </p:cNvSpPr>
            <p:nvPr/>
          </p:nvSpPr>
          <p:spPr bwMode="auto">
            <a:xfrm>
              <a:off x="1932828" y="3522260"/>
              <a:ext cx="252022" cy="252022"/>
            </a:xfrm>
            <a:custGeom>
              <a:avLst/>
              <a:gdLst>
                <a:gd name="T0" fmla="*/ 221 w 221"/>
                <a:gd name="T1" fmla="*/ 0 h 221"/>
                <a:gd name="T2" fmla="*/ 0 w 221"/>
                <a:gd name="T3" fmla="*/ 0 h 221"/>
                <a:gd name="T4" fmla="*/ 0 w 221"/>
                <a:gd name="T5" fmla="*/ 89 h 221"/>
                <a:gd name="T6" fmla="*/ 135 w 221"/>
                <a:gd name="T7" fmla="*/ 89 h 221"/>
                <a:gd name="T8" fmla="*/ 135 w 221"/>
                <a:gd name="T9" fmla="*/ 221 h 221"/>
                <a:gd name="T10" fmla="*/ 221 w 221"/>
                <a:gd name="T11" fmla="*/ 221 h 221"/>
                <a:gd name="T12" fmla="*/ 221 w 221"/>
                <a:gd name="T13" fmla="*/ 0 h 221"/>
                <a:gd name="T14" fmla="*/ 221 w 221"/>
                <a:gd name="T15" fmla="*/ 0 h 2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1" h="221">
                  <a:moveTo>
                    <a:pt x="221" y="0"/>
                  </a:moveTo>
                  <a:lnTo>
                    <a:pt x="0" y="0"/>
                  </a:lnTo>
                  <a:lnTo>
                    <a:pt x="0" y="89"/>
                  </a:lnTo>
                  <a:lnTo>
                    <a:pt x="135" y="89"/>
                  </a:lnTo>
                  <a:lnTo>
                    <a:pt x="135" y="221"/>
                  </a:lnTo>
                  <a:lnTo>
                    <a:pt x="221" y="221"/>
                  </a:lnTo>
                  <a:lnTo>
                    <a:pt x="221" y="0"/>
                  </a:lnTo>
                  <a:lnTo>
                    <a:pt x="221" y="0"/>
                  </a:lnTo>
                  <a:close/>
                </a:path>
              </a:pathLst>
            </a:custGeom>
            <a:noFill/>
            <a:ln w="31750">
              <a:solidFill>
                <a:srgbClr val="FFCC66">
                  <a:alpha val="55686"/>
                </a:srgbClr>
              </a:solidFill>
            </a:ln>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53389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Blank Plain">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5638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vl1pPr>
          </a:lstStyle>
          <a:p>
            <a:r>
              <a:rPr lang="en-US"/>
              <a:t>Click to edit Master title style</a:t>
            </a:r>
            <a:endParaRPr lang="en-US" dirty="0"/>
          </a:p>
        </p:txBody>
      </p:sp>
      <p:sp>
        <p:nvSpPr>
          <p:cNvPr id="6" name="Content Placeholder 5"/>
          <p:cNvSpPr>
            <a:spLocks noGrp="1"/>
          </p:cNvSpPr>
          <p:nvPr>
            <p:ph sz="quarter" idx="13"/>
          </p:nvPr>
        </p:nvSpPr>
        <p:spPr>
          <a:xfrm>
            <a:off x="457200" y="941832"/>
            <a:ext cx="8229600" cy="3712464"/>
          </a:xfrm>
        </p:spPr>
        <p:txBody>
          <a:bodyPr vert="horz" lIns="0" tIns="0" rIns="0" bIns="0" rtlCol="0">
            <a:normAutofit/>
          </a:bodyPr>
          <a:lstStyle>
            <a:lvl1pPr>
              <a:defRPr lang="en-US" sz="2100" dirty="0" smtClean="0"/>
            </a:lvl1pPr>
            <a:lvl2pPr>
              <a:defRPr lang="en-US" sz="1800" dirty="0" smtClean="0"/>
            </a:lvl2pPr>
            <a:lvl3pPr>
              <a:defRPr lang="en-US" sz="1500" dirty="0" smtClean="0"/>
            </a:lvl3pPr>
            <a:lvl4pPr>
              <a:defRPr lang="en-US" sz="1350" dirty="0" smtClean="0"/>
            </a:lvl4pPr>
            <a:lvl5pPr>
              <a:defRPr lang="en-US" sz="1350" dirty="0"/>
            </a:lvl5pPr>
          </a:lstStyle>
          <a:p>
            <a:pPr lvl="0">
              <a:buSzPct val="80000"/>
              <a:buFont typeface="Wingdings 3" panose="05040102010807070707" pitchFamily="18" charset="2"/>
              <a:buChar char=""/>
            </a:pPr>
            <a:r>
              <a:rPr lang="en-US" dirty="0"/>
              <a:t>Click to edit Master text styles</a:t>
            </a:r>
          </a:p>
          <a:p>
            <a:pPr lvl="1">
              <a:buClrTx/>
              <a:buFont typeface="Wingdings" panose="05000000000000000000" pitchFamily="2" charset="2"/>
              <a:buChar char="§"/>
            </a:pPr>
            <a:r>
              <a:rPr lang="en-US" dirty="0"/>
              <a:t>Second level</a:t>
            </a:r>
          </a:p>
          <a:p>
            <a:pPr lvl="2">
              <a:buClrTx/>
              <a:buChar char="§"/>
            </a:pPr>
            <a:r>
              <a:rPr lang="en-US" dirty="0"/>
              <a:t>Third level</a:t>
            </a:r>
          </a:p>
          <a:p>
            <a:pPr lvl="3">
              <a:buClrTx/>
            </a:pPr>
            <a:r>
              <a:rPr lang="en-US" dirty="0"/>
              <a:t>Fourth level</a:t>
            </a:r>
          </a:p>
          <a:p>
            <a:pPr lvl="4">
              <a:buClrTx/>
              <a:buChar char="§"/>
            </a:pPr>
            <a:r>
              <a:rPr lang="en-US" dirty="0"/>
              <a:t>Fifth level</a:t>
            </a:r>
          </a:p>
        </p:txBody>
      </p:sp>
    </p:spTree>
    <p:custDataLst>
      <p:tags r:id="rId1"/>
    </p:custDataLst>
    <p:extLst>
      <p:ext uri="{BB962C8B-B14F-4D97-AF65-F5344CB8AC3E}">
        <p14:creationId xmlns:p14="http://schemas.microsoft.com/office/powerpoint/2010/main" val="1274940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612">
          <p15:clr>
            <a:srgbClr val="FBAE40"/>
          </p15:clr>
        </p15:guide>
        <p15:guide id="2" pos="288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reserve="1">
  <p:cSld name="Title Slide 1">
    <p:bg>
      <p:bgPr>
        <a:solidFill>
          <a:schemeClr val="bg1"/>
        </a:solidFill>
        <a:effectLst/>
      </p:bgPr>
    </p:bg>
    <p:spTree>
      <p:nvGrpSpPr>
        <p:cNvPr id="1" name=""/>
        <p:cNvGrpSpPr/>
        <p:nvPr/>
      </p:nvGrpSpPr>
      <p:grpSpPr>
        <a:xfrm>
          <a:off x="0" y="0"/>
          <a:ext cx="0" cy="0"/>
          <a:chOff x="0" y="0"/>
          <a:chExt cx="0" cy="0"/>
        </a:xfrm>
      </p:grpSpPr>
      <p:pic>
        <p:nvPicPr>
          <p:cNvPr id="12" name="Picture 11" descr="widescreen_cover1.jpg"/>
          <p:cNvPicPr>
            <a:picLocks noChangeAspect="1"/>
          </p:cNvPicPr>
          <p:nvPr userDrawn="1"/>
        </p:nvPicPr>
        <p:blipFill>
          <a:blip r:embed="rId2" cstate="print"/>
          <a:stretch>
            <a:fillRect/>
          </a:stretch>
        </p:blipFill>
        <p:spPr>
          <a:xfrm>
            <a:off x="6764" y="0"/>
            <a:ext cx="9130473" cy="5143500"/>
          </a:xfrm>
          <a:prstGeom prst="rect">
            <a:avLst/>
          </a:prstGeom>
        </p:spPr>
      </p:pic>
      <p:sp>
        <p:nvSpPr>
          <p:cNvPr id="47123" name="Freeform 19"/>
          <p:cNvSpPr>
            <a:spLocks noChangeAspect="1"/>
          </p:cNvSpPr>
          <p:nvPr userDrawn="1"/>
        </p:nvSpPr>
        <p:spPr bwMode="gray">
          <a:xfrm>
            <a:off x="0" y="2"/>
            <a:ext cx="4573588" cy="4011961"/>
          </a:xfrm>
          <a:custGeom>
            <a:avLst/>
            <a:gdLst/>
            <a:ahLst/>
            <a:cxnLst>
              <a:cxn ang="0">
                <a:pos x="0" y="0"/>
              </a:cxn>
              <a:cxn ang="0">
                <a:pos x="0" y="2985"/>
              </a:cxn>
              <a:cxn ang="0">
                <a:pos x="2518" y="2985"/>
              </a:cxn>
              <a:cxn ang="0">
                <a:pos x="3402" y="0"/>
              </a:cxn>
              <a:cxn ang="0">
                <a:pos x="0" y="0"/>
              </a:cxn>
            </a:cxnLst>
            <a:rect l="0" t="0" r="r" b="b"/>
            <a:pathLst>
              <a:path w="3402" h="2985">
                <a:moveTo>
                  <a:pt x="0" y="0"/>
                </a:moveTo>
                <a:lnTo>
                  <a:pt x="0" y="2985"/>
                </a:lnTo>
                <a:lnTo>
                  <a:pt x="2518" y="2985"/>
                </a:lnTo>
                <a:lnTo>
                  <a:pt x="3402" y="0"/>
                </a:lnTo>
                <a:lnTo>
                  <a:pt x="0" y="0"/>
                </a:lnTo>
                <a:close/>
              </a:path>
            </a:pathLst>
          </a:custGeom>
          <a:gradFill rotWithShape="1">
            <a:gsLst>
              <a:gs pos="0">
                <a:srgbClr val="00257A">
                  <a:alpha val="89999"/>
                </a:srgbClr>
              </a:gs>
              <a:gs pos="35001">
                <a:srgbClr val="00338D">
                  <a:alpha val="89999"/>
                </a:srgbClr>
              </a:gs>
              <a:gs pos="100000">
                <a:srgbClr val="009FDA">
                  <a:alpha val="89999"/>
                </a:srgbClr>
              </a:gs>
            </a:gsLst>
            <a:lin ang="0" scaled="1"/>
          </a:gradFill>
          <a:ln w="9525" cap="flat" cmpd="sng">
            <a:noFill/>
            <a:prstDash val="solid"/>
            <a:round/>
            <a:headEnd type="none" w="med" len="med"/>
            <a:tailEnd type="none" w="med" len="med"/>
          </a:ln>
          <a:effectLst/>
        </p:spPr>
        <p:txBody>
          <a:bodyPr lIns="68579" tIns="34289" rIns="68579" bIns="34289">
            <a:noAutofit/>
          </a:bodyPr>
          <a:lstStyle/>
          <a:p>
            <a:pPr algn="ctr" defTabSz="685783"/>
            <a:endParaRPr lang="en-GB">
              <a:solidFill>
                <a:srgbClr val="000000"/>
              </a:solidFill>
              <a:cs typeface="Arial" charset="0"/>
            </a:endParaRPr>
          </a:p>
        </p:txBody>
      </p:sp>
      <p:sp>
        <p:nvSpPr>
          <p:cNvPr id="47106" name="Text Placeholder 50"/>
          <p:cNvSpPr>
            <a:spLocks noGrp="1"/>
          </p:cNvSpPr>
          <p:nvPr>
            <p:ph type="subTitle" idx="1"/>
          </p:nvPr>
        </p:nvSpPr>
        <p:spPr>
          <a:xfrm>
            <a:off x="323852" y="2859794"/>
            <a:ext cx="3095625" cy="863333"/>
          </a:xfrm>
        </p:spPr>
        <p:txBody>
          <a:bodyPr>
            <a:noAutofit/>
          </a:bodyPr>
          <a:lstStyle>
            <a:lvl1pPr>
              <a:defRPr sz="1200" b="0">
                <a:solidFill>
                  <a:schemeClr val="bg1"/>
                </a:solidFill>
                <a:latin typeface="Arial" charset="0"/>
                <a:cs typeface="Arial" charset="0"/>
              </a:defRPr>
            </a:lvl1pPr>
          </a:lstStyle>
          <a:p>
            <a:r>
              <a:rPr lang="en-US"/>
              <a:t>Click to edit Master subtitle style</a:t>
            </a:r>
            <a:endParaRPr dirty="0"/>
          </a:p>
        </p:txBody>
      </p:sp>
      <p:sp>
        <p:nvSpPr>
          <p:cNvPr id="47113" name="Title Placeholder 45"/>
          <p:cNvSpPr>
            <a:spLocks noGrp="1"/>
          </p:cNvSpPr>
          <p:nvPr>
            <p:ph type="ctrTitle"/>
          </p:nvPr>
        </p:nvSpPr>
        <p:spPr>
          <a:xfrm>
            <a:off x="323529" y="1275956"/>
            <a:ext cx="3456310" cy="1368003"/>
          </a:xfrm>
        </p:spPr>
        <p:txBody>
          <a:bodyPr anchor="t">
            <a:noAutofit/>
          </a:bodyPr>
          <a:lstStyle>
            <a:lvl1pPr>
              <a:defRPr sz="3000">
                <a:latin typeface="Arial" charset="0"/>
                <a:cs typeface="Arial" charset="0"/>
              </a:defRPr>
            </a:lvl1pPr>
          </a:lstStyle>
          <a:p>
            <a:r>
              <a:rPr lang="en-US"/>
              <a:t>Click to edit Master title style</a:t>
            </a:r>
            <a:endParaRPr lang="en-US" dirty="0"/>
          </a:p>
        </p:txBody>
      </p:sp>
      <p:grpSp>
        <p:nvGrpSpPr>
          <p:cNvPr id="3" name="Group 2"/>
          <p:cNvGrpSpPr>
            <a:grpSpLocks noChangeAspect="1"/>
          </p:cNvGrpSpPr>
          <p:nvPr userDrawn="1"/>
        </p:nvGrpSpPr>
        <p:grpSpPr>
          <a:xfrm>
            <a:off x="180000" y="1"/>
            <a:ext cx="2049042" cy="1209600"/>
            <a:chOff x="128464" y="1"/>
            <a:chExt cx="2160000" cy="1275101"/>
          </a:xfrm>
        </p:grpSpPr>
        <p:sp>
          <p:nvSpPr>
            <p:cNvPr id="13" name="Freeform 14"/>
            <p:cNvSpPr>
              <a:spLocks noChangeAspect="1" noEditPoints="1"/>
            </p:cNvSpPr>
            <p:nvPr userDrawn="1"/>
          </p:nvSpPr>
          <p:spPr bwMode="white">
            <a:xfrm>
              <a:off x="301741" y="328035"/>
              <a:ext cx="1765830" cy="646810"/>
            </a:xfrm>
            <a:custGeom>
              <a:avLst/>
              <a:gdLst/>
              <a:ahLst/>
              <a:cxnLst>
                <a:cxn ang="0">
                  <a:pos x="2851" y="1035"/>
                </a:cxn>
                <a:cxn ang="0">
                  <a:pos x="3588" y="28"/>
                </a:cxn>
                <a:cxn ang="0">
                  <a:pos x="2718" y="826"/>
                </a:cxn>
                <a:cxn ang="0">
                  <a:pos x="1973" y="28"/>
                </a:cxn>
                <a:cxn ang="0">
                  <a:pos x="1663" y="659"/>
                </a:cxn>
                <a:cxn ang="0">
                  <a:pos x="1850" y="28"/>
                </a:cxn>
                <a:cxn ang="0">
                  <a:pos x="1165" y="1000"/>
                </a:cxn>
                <a:cxn ang="0">
                  <a:pos x="1334" y="806"/>
                </a:cxn>
                <a:cxn ang="0">
                  <a:pos x="479" y="1047"/>
                </a:cxn>
                <a:cxn ang="0">
                  <a:pos x="980" y="699"/>
                </a:cxn>
                <a:cxn ang="0">
                  <a:pos x="2747" y="0"/>
                </a:cxn>
                <a:cxn ang="0">
                  <a:pos x="1009" y="0"/>
                </a:cxn>
                <a:cxn ang="0">
                  <a:pos x="665" y="1435"/>
                </a:cxn>
                <a:cxn ang="0">
                  <a:pos x="1150" y="1133"/>
                </a:cxn>
                <a:cxn ang="0">
                  <a:pos x="1980" y="1434"/>
                </a:cxn>
                <a:cxn ang="0">
                  <a:pos x="2963" y="1451"/>
                </a:cxn>
                <a:cxn ang="0">
                  <a:pos x="348" y="2092"/>
                </a:cxn>
                <a:cxn ang="0">
                  <a:pos x="395" y="2104"/>
                </a:cxn>
                <a:cxn ang="0">
                  <a:pos x="880" y="1895"/>
                </a:cxn>
                <a:cxn ang="0">
                  <a:pos x="584" y="1895"/>
                </a:cxn>
                <a:cxn ang="0">
                  <a:pos x="645" y="2088"/>
                </a:cxn>
                <a:cxn ang="0">
                  <a:pos x="813" y="2088"/>
                </a:cxn>
                <a:cxn ang="0">
                  <a:pos x="935" y="1790"/>
                </a:cxn>
                <a:cxn ang="0">
                  <a:pos x="1104" y="1929"/>
                </a:cxn>
                <a:cxn ang="0">
                  <a:pos x="1151" y="1938"/>
                </a:cxn>
                <a:cxn ang="0">
                  <a:pos x="1504" y="2134"/>
                </a:cxn>
                <a:cxn ang="0">
                  <a:pos x="1370" y="2132"/>
                </a:cxn>
                <a:cxn ang="0">
                  <a:pos x="1428" y="1940"/>
                </a:cxn>
                <a:cxn ang="0">
                  <a:pos x="1719" y="1895"/>
                </a:cxn>
                <a:cxn ang="0">
                  <a:pos x="1803" y="2052"/>
                </a:cxn>
                <a:cxn ang="0">
                  <a:pos x="2137" y="1923"/>
                </a:cxn>
                <a:cxn ang="0">
                  <a:pos x="1881" y="2136"/>
                </a:cxn>
                <a:cxn ang="0">
                  <a:pos x="2253" y="2017"/>
                </a:cxn>
                <a:cxn ang="0">
                  <a:pos x="2503" y="1888"/>
                </a:cxn>
                <a:cxn ang="0">
                  <a:pos x="2740" y="2092"/>
                </a:cxn>
                <a:cxn ang="0">
                  <a:pos x="2787" y="2104"/>
                </a:cxn>
                <a:cxn ang="0">
                  <a:pos x="3126" y="2134"/>
                </a:cxn>
                <a:cxn ang="0">
                  <a:pos x="2992" y="2132"/>
                </a:cxn>
                <a:cxn ang="0">
                  <a:pos x="3051" y="1940"/>
                </a:cxn>
                <a:cxn ang="0">
                  <a:pos x="3441" y="1989"/>
                </a:cxn>
                <a:cxn ang="0">
                  <a:pos x="3257" y="1790"/>
                </a:cxn>
                <a:cxn ang="0">
                  <a:pos x="168" y="2120"/>
                </a:cxn>
                <a:cxn ang="0">
                  <a:pos x="3742" y="1935"/>
                </a:cxn>
                <a:cxn ang="0">
                  <a:pos x="3624" y="2110"/>
                </a:cxn>
                <a:cxn ang="0">
                  <a:pos x="3857" y="2017"/>
                </a:cxn>
                <a:cxn ang="0">
                  <a:pos x="4180" y="1894"/>
                </a:cxn>
                <a:cxn ang="0">
                  <a:pos x="4515" y="2136"/>
                </a:cxn>
                <a:cxn ang="0">
                  <a:pos x="4289" y="1939"/>
                </a:cxn>
                <a:cxn ang="0">
                  <a:pos x="4846" y="2010"/>
                </a:cxn>
                <a:cxn ang="0">
                  <a:pos x="4741" y="1935"/>
                </a:cxn>
                <a:cxn ang="0">
                  <a:pos x="4936" y="1789"/>
                </a:cxn>
                <a:cxn ang="0">
                  <a:pos x="5002" y="2021"/>
                </a:cxn>
                <a:cxn ang="0">
                  <a:pos x="5080" y="1988"/>
                </a:cxn>
                <a:cxn ang="0">
                  <a:pos x="5388" y="2136"/>
                </a:cxn>
                <a:cxn ang="0">
                  <a:pos x="5625" y="1893"/>
                </a:cxn>
                <a:cxn ang="0">
                  <a:pos x="5573" y="1790"/>
                </a:cxn>
                <a:cxn ang="0">
                  <a:pos x="5710" y="1848"/>
                </a:cxn>
                <a:cxn ang="0">
                  <a:pos x="5786" y="2086"/>
                </a:cxn>
                <a:cxn ang="0">
                  <a:pos x="5835" y="2229"/>
                </a:cxn>
              </a:cxnLst>
              <a:rect l="0" t="0" r="r" b="b"/>
              <a:pathLst>
                <a:path w="6099" h="2232">
                  <a:moveTo>
                    <a:pt x="3588" y="1105"/>
                  </a:moveTo>
                  <a:cubicBezTo>
                    <a:pt x="3401" y="1105"/>
                    <a:pt x="3401" y="1105"/>
                    <a:pt x="3401" y="1105"/>
                  </a:cubicBezTo>
                  <a:cubicBezTo>
                    <a:pt x="3431" y="981"/>
                    <a:pt x="3431" y="981"/>
                    <a:pt x="3431" y="981"/>
                  </a:cubicBezTo>
                  <a:cubicBezTo>
                    <a:pt x="3055" y="981"/>
                    <a:pt x="3055" y="981"/>
                    <a:pt x="3055" y="981"/>
                  </a:cubicBezTo>
                  <a:cubicBezTo>
                    <a:pt x="3024" y="1105"/>
                    <a:pt x="3024" y="1105"/>
                    <a:pt x="3024" y="1105"/>
                  </a:cubicBezTo>
                  <a:cubicBezTo>
                    <a:pt x="2843" y="1105"/>
                    <a:pt x="2843" y="1105"/>
                    <a:pt x="2843" y="1105"/>
                  </a:cubicBezTo>
                  <a:cubicBezTo>
                    <a:pt x="2843" y="1079"/>
                    <a:pt x="2843" y="1079"/>
                    <a:pt x="2843" y="1079"/>
                  </a:cubicBezTo>
                  <a:cubicBezTo>
                    <a:pt x="2845" y="1065"/>
                    <a:pt x="2848" y="1051"/>
                    <a:pt x="2851" y="1035"/>
                  </a:cubicBezTo>
                  <a:cubicBezTo>
                    <a:pt x="2884" y="901"/>
                    <a:pt x="2972" y="769"/>
                    <a:pt x="3124" y="769"/>
                  </a:cubicBezTo>
                  <a:cubicBezTo>
                    <a:pt x="3185" y="769"/>
                    <a:pt x="3244" y="792"/>
                    <a:pt x="3236" y="875"/>
                  </a:cubicBezTo>
                  <a:cubicBezTo>
                    <a:pt x="3460" y="875"/>
                    <a:pt x="3460" y="875"/>
                    <a:pt x="3460" y="875"/>
                  </a:cubicBezTo>
                  <a:cubicBezTo>
                    <a:pt x="3469" y="836"/>
                    <a:pt x="3484" y="770"/>
                    <a:pt x="3441" y="709"/>
                  </a:cubicBezTo>
                  <a:cubicBezTo>
                    <a:pt x="3394" y="643"/>
                    <a:pt x="3298" y="616"/>
                    <a:pt x="3173" y="616"/>
                  </a:cubicBezTo>
                  <a:cubicBezTo>
                    <a:pt x="3084" y="616"/>
                    <a:pt x="2955" y="631"/>
                    <a:pt x="2843" y="704"/>
                  </a:cubicBezTo>
                  <a:cubicBezTo>
                    <a:pt x="2843" y="28"/>
                    <a:pt x="2843" y="28"/>
                    <a:pt x="2843" y="28"/>
                  </a:cubicBezTo>
                  <a:cubicBezTo>
                    <a:pt x="3588" y="28"/>
                    <a:pt x="3588" y="28"/>
                    <a:pt x="3588" y="28"/>
                  </a:cubicBezTo>
                  <a:lnTo>
                    <a:pt x="3588" y="1105"/>
                  </a:lnTo>
                  <a:close/>
                  <a:moveTo>
                    <a:pt x="3148" y="1287"/>
                  </a:moveTo>
                  <a:cubicBezTo>
                    <a:pt x="3106" y="1294"/>
                    <a:pt x="3063" y="1300"/>
                    <a:pt x="3023" y="1300"/>
                  </a:cubicBezTo>
                  <a:cubicBezTo>
                    <a:pt x="2915" y="1300"/>
                    <a:pt x="2840" y="1250"/>
                    <a:pt x="2839" y="1133"/>
                  </a:cubicBezTo>
                  <a:cubicBezTo>
                    <a:pt x="3186" y="1133"/>
                    <a:pt x="3186" y="1133"/>
                    <a:pt x="3186" y="1133"/>
                  </a:cubicBezTo>
                  <a:lnTo>
                    <a:pt x="3148" y="1287"/>
                  </a:lnTo>
                  <a:close/>
                  <a:moveTo>
                    <a:pt x="2718" y="672"/>
                  </a:moveTo>
                  <a:cubicBezTo>
                    <a:pt x="2718" y="826"/>
                    <a:pt x="2718" y="826"/>
                    <a:pt x="2718" y="826"/>
                  </a:cubicBezTo>
                  <a:cubicBezTo>
                    <a:pt x="2666" y="898"/>
                    <a:pt x="2634" y="976"/>
                    <a:pt x="2619" y="1040"/>
                  </a:cubicBezTo>
                  <a:cubicBezTo>
                    <a:pt x="2613" y="1061"/>
                    <a:pt x="2609" y="1083"/>
                    <a:pt x="2607" y="1105"/>
                  </a:cubicBezTo>
                  <a:cubicBezTo>
                    <a:pt x="2497" y="1105"/>
                    <a:pt x="2497" y="1105"/>
                    <a:pt x="2497" y="1105"/>
                  </a:cubicBezTo>
                  <a:cubicBezTo>
                    <a:pt x="2591" y="660"/>
                    <a:pt x="2591" y="660"/>
                    <a:pt x="2591" y="660"/>
                  </a:cubicBezTo>
                  <a:cubicBezTo>
                    <a:pt x="2276" y="660"/>
                    <a:pt x="2276" y="660"/>
                    <a:pt x="2276" y="660"/>
                  </a:cubicBezTo>
                  <a:cubicBezTo>
                    <a:pt x="1993" y="1105"/>
                    <a:pt x="1993" y="1105"/>
                    <a:pt x="1993" y="1105"/>
                  </a:cubicBezTo>
                  <a:cubicBezTo>
                    <a:pt x="1973" y="1105"/>
                    <a:pt x="1973" y="1105"/>
                    <a:pt x="1973" y="1105"/>
                  </a:cubicBezTo>
                  <a:cubicBezTo>
                    <a:pt x="1973" y="28"/>
                    <a:pt x="1973" y="28"/>
                    <a:pt x="1973" y="28"/>
                  </a:cubicBezTo>
                  <a:cubicBezTo>
                    <a:pt x="2718" y="28"/>
                    <a:pt x="2718" y="28"/>
                    <a:pt x="2718" y="28"/>
                  </a:cubicBezTo>
                  <a:lnTo>
                    <a:pt x="2718" y="672"/>
                  </a:lnTo>
                  <a:close/>
                  <a:moveTo>
                    <a:pt x="2302" y="1105"/>
                  </a:moveTo>
                  <a:cubicBezTo>
                    <a:pt x="2190" y="1105"/>
                    <a:pt x="2190" y="1105"/>
                    <a:pt x="2190" y="1105"/>
                  </a:cubicBezTo>
                  <a:cubicBezTo>
                    <a:pt x="2360" y="838"/>
                    <a:pt x="2360" y="838"/>
                    <a:pt x="2360" y="838"/>
                  </a:cubicBezTo>
                  <a:lnTo>
                    <a:pt x="2302" y="1105"/>
                  </a:lnTo>
                  <a:close/>
                  <a:moveTo>
                    <a:pt x="1850" y="659"/>
                  </a:moveTo>
                  <a:cubicBezTo>
                    <a:pt x="1663" y="659"/>
                    <a:pt x="1663" y="659"/>
                    <a:pt x="1663" y="659"/>
                  </a:cubicBezTo>
                  <a:cubicBezTo>
                    <a:pt x="1535" y="1105"/>
                    <a:pt x="1535" y="1105"/>
                    <a:pt x="1535" y="1105"/>
                  </a:cubicBezTo>
                  <a:cubicBezTo>
                    <a:pt x="1337" y="1105"/>
                    <a:pt x="1337" y="1105"/>
                    <a:pt x="1337" y="1105"/>
                  </a:cubicBezTo>
                  <a:cubicBezTo>
                    <a:pt x="1438" y="1068"/>
                    <a:pt x="1499" y="996"/>
                    <a:pt x="1518" y="890"/>
                  </a:cubicBezTo>
                  <a:cubicBezTo>
                    <a:pt x="1534" y="809"/>
                    <a:pt x="1527" y="755"/>
                    <a:pt x="1493" y="714"/>
                  </a:cubicBezTo>
                  <a:cubicBezTo>
                    <a:pt x="1443" y="654"/>
                    <a:pt x="1342" y="659"/>
                    <a:pt x="1253" y="659"/>
                  </a:cubicBezTo>
                  <a:cubicBezTo>
                    <a:pt x="1237" y="659"/>
                    <a:pt x="1105" y="659"/>
                    <a:pt x="1105" y="659"/>
                  </a:cubicBezTo>
                  <a:cubicBezTo>
                    <a:pt x="1105" y="28"/>
                    <a:pt x="1105" y="28"/>
                    <a:pt x="1105" y="28"/>
                  </a:cubicBezTo>
                  <a:cubicBezTo>
                    <a:pt x="1850" y="28"/>
                    <a:pt x="1850" y="28"/>
                    <a:pt x="1850" y="28"/>
                  </a:cubicBezTo>
                  <a:lnTo>
                    <a:pt x="1850" y="659"/>
                  </a:lnTo>
                  <a:close/>
                  <a:moveTo>
                    <a:pt x="1730" y="1105"/>
                  </a:moveTo>
                  <a:cubicBezTo>
                    <a:pt x="1809" y="826"/>
                    <a:pt x="1809" y="826"/>
                    <a:pt x="1809" y="826"/>
                  </a:cubicBezTo>
                  <a:cubicBezTo>
                    <a:pt x="1812" y="1105"/>
                    <a:pt x="1812" y="1105"/>
                    <a:pt x="1812" y="1105"/>
                  </a:cubicBezTo>
                  <a:lnTo>
                    <a:pt x="1730" y="1105"/>
                  </a:lnTo>
                  <a:close/>
                  <a:moveTo>
                    <a:pt x="1188" y="999"/>
                  </a:moveTo>
                  <a:cubicBezTo>
                    <a:pt x="1187" y="999"/>
                    <a:pt x="1187" y="999"/>
                    <a:pt x="1187" y="999"/>
                  </a:cubicBezTo>
                  <a:cubicBezTo>
                    <a:pt x="1180" y="999"/>
                    <a:pt x="1173" y="1000"/>
                    <a:pt x="1165" y="1000"/>
                  </a:cubicBezTo>
                  <a:cubicBezTo>
                    <a:pt x="1154" y="1000"/>
                    <a:pt x="1145" y="1000"/>
                    <a:pt x="1137" y="1000"/>
                  </a:cubicBezTo>
                  <a:cubicBezTo>
                    <a:pt x="1089" y="1000"/>
                    <a:pt x="1089" y="1000"/>
                    <a:pt x="1089" y="1000"/>
                  </a:cubicBezTo>
                  <a:cubicBezTo>
                    <a:pt x="1111" y="918"/>
                    <a:pt x="1111" y="918"/>
                    <a:pt x="1111" y="918"/>
                  </a:cubicBezTo>
                  <a:cubicBezTo>
                    <a:pt x="1122" y="878"/>
                    <a:pt x="1122" y="878"/>
                    <a:pt x="1122" y="878"/>
                  </a:cubicBezTo>
                  <a:cubicBezTo>
                    <a:pt x="1147" y="783"/>
                    <a:pt x="1147" y="783"/>
                    <a:pt x="1147" y="783"/>
                  </a:cubicBezTo>
                  <a:cubicBezTo>
                    <a:pt x="1158" y="783"/>
                    <a:pt x="1169" y="782"/>
                    <a:pt x="1179" y="782"/>
                  </a:cubicBezTo>
                  <a:cubicBezTo>
                    <a:pt x="1216" y="782"/>
                    <a:pt x="1216" y="782"/>
                    <a:pt x="1216" y="782"/>
                  </a:cubicBezTo>
                  <a:cubicBezTo>
                    <a:pt x="1279" y="782"/>
                    <a:pt x="1319" y="786"/>
                    <a:pt x="1334" y="806"/>
                  </a:cubicBezTo>
                  <a:cubicBezTo>
                    <a:pt x="1345" y="822"/>
                    <a:pt x="1343" y="848"/>
                    <a:pt x="1330" y="888"/>
                  </a:cubicBezTo>
                  <a:cubicBezTo>
                    <a:pt x="1308" y="957"/>
                    <a:pt x="1279" y="992"/>
                    <a:pt x="1188" y="999"/>
                  </a:cubicBezTo>
                  <a:moveTo>
                    <a:pt x="980" y="699"/>
                  </a:moveTo>
                  <a:cubicBezTo>
                    <a:pt x="969" y="737"/>
                    <a:pt x="969" y="737"/>
                    <a:pt x="969" y="737"/>
                  </a:cubicBezTo>
                  <a:cubicBezTo>
                    <a:pt x="862" y="1092"/>
                    <a:pt x="862" y="1092"/>
                    <a:pt x="862" y="1092"/>
                  </a:cubicBezTo>
                  <a:cubicBezTo>
                    <a:pt x="858" y="1105"/>
                    <a:pt x="858" y="1105"/>
                    <a:pt x="858" y="1105"/>
                  </a:cubicBezTo>
                  <a:cubicBezTo>
                    <a:pt x="507" y="1105"/>
                    <a:pt x="507" y="1105"/>
                    <a:pt x="507" y="1105"/>
                  </a:cubicBezTo>
                  <a:cubicBezTo>
                    <a:pt x="479" y="1047"/>
                    <a:pt x="479" y="1047"/>
                    <a:pt x="479" y="1047"/>
                  </a:cubicBezTo>
                  <a:cubicBezTo>
                    <a:pt x="858" y="660"/>
                    <a:pt x="858" y="660"/>
                    <a:pt x="858" y="660"/>
                  </a:cubicBezTo>
                  <a:cubicBezTo>
                    <a:pt x="615" y="660"/>
                    <a:pt x="615" y="660"/>
                    <a:pt x="615" y="660"/>
                  </a:cubicBezTo>
                  <a:cubicBezTo>
                    <a:pt x="319" y="979"/>
                    <a:pt x="319" y="979"/>
                    <a:pt x="319" y="979"/>
                  </a:cubicBezTo>
                  <a:cubicBezTo>
                    <a:pt x="415" y="660"/>
                    <a:pt x="415" y="660"/>
                    <a:pt x="415" y="660"/>
                  </a:cubicBezTo>
                  <a:cubicBezTo>
                    <a:pt x="235" y="660"/>
                    <a:pt x="235" y="660"/>
                    <a:pt x="235" y="660"/>
                  </a:cubicBezTo>
                  <a:cubicBezTo>
                    <a:pt x="235" y="28"/>
                    <a:pt x="235" y="28"/>
                    <a:pt x="235" y="28"/>
                  </a:cubicBezTo>
                  <a:cubicBezTo>
                    <a:pt x="980" y="28"/>
                    <a:pt x="980" y="28"/>
                    <a:pt x="980" y="28"/>
                  </a:cubicBezTo>
                  <a:lnTo>
                    <a:pt x="980" y="699"/>
                  </a:lnTo>
                  <a:close/>
                  <a:moveTo>
                    <a:pt x="281" y="1105"/>
                  </a:moveTo>
                  <a:cubicBezTo>
                    <a:pt x="282" y="1101"/>
                    <a:pt x="282" y="1101"/>
                    <a:pt x="282" y="1101"/>
                  </a:cubicBezTo>
                  <a:cubicBezTo>
                    <a:pt x="285" y="1105"/>
                    <a:pt x="285" y="1105"/>
                    <a:pt x="285" y="1105"/>
                  </a:cubicBezTo>
                  <a:lnTo>
                    <a:pt x="281" y="1105"/>
                  </a:lnTo>
                  <a:close/>
                  <a:moveTo>
                    <a:pt x="2814" y="0"/>
                  </a:moveTo>
                  <a:cubicBezTo>
                    <a:pt x="2814" y="724"/>
                    <a:pt x="2814" y="724"/>
                    <a:pt x="2814" y="724"/>
                  </a:cubicBezTo>
                  <a:cubicBezTo>
                    <a:pt x="2789" y="744"/>
                    <a:pt x="2767" y="765"/>
                    <a:pt x="2747" y="788"/>
                  </a:cubicBezTo>
                  <a:cubicBezTo>
                    <a:pt x="2747" y="0"/>
                    <a:pt x="2747" y="0"/>
                    <a:pt x="2747" y="0"/>
                  </a:cubicBezTo>
                  <a:cubicBezTo>
                    <a:pt x="1945" y="0"/>
                    <a:pt x="1945" y="0"/>
                    <a:pt x="1945" y="0"/>
                  </a:cubicBezTo>
                  <a:cubicBezTo>
                    <a:pt x="1945" y="659"/>
                    <a:pt x="1945" y="659"/>
                    <a:pt x="1945" y="659"/>
                  </a:cubicBezTo>
                  <a:cubicBezTo>
                    <a:pt x="1878" y="659"/>
                    <a:pt x="1878" y="659"/>
                    <a:pt x="1878" y="659"/>
                  </a:cubicBezTo>
                  <a:cubicBezTo>
                    <a:pt x="1878" y="0"/>
                    <a:pt x="1878" y="0"/>
                    <a:pt x="1878" y="0"/>
                  </a:cubicBezTo>
                  <a:cubicBezTo>
                    <a:pt x="1076" y="0"/>
                    <a:pt x="1076" y="0"/>
                    <a:pt x="1076" y="0"/>
                  </a:cubicBezTo>
                  <a:cubicBezTo>
                    <a:pt x="1076" y="660"/>
                    <a:pt x="1076" y="660"/>
                    <a:pt x="1076" y="660"/>
                  </a:cubicBezTo>
                  <a:cubicBezTo>
                    <a:pt x="1009" y="660"/>
                    <a:pt x="1009" y="660"/>
                    <a:pt x="1009" y="660"/>
                  </a:cubicBezTo>
                  <a:cubicBezTo>
                    <a:pt x="1009" y="0"/>
                    <a:pt x="1009" y="0"/>
                    <a:pt x="1009" y="0"/>
                  </a:cubicBezTo>
                  <a:cubicBezTo>
                    <a:pt x="207" y="0"/>
                    <a:pt x="207" y="0"/>
                    <a:pt x="207" y="0"/>
                  </a:cubicBezTo>
                  <a:cubicBezTo>
                    <a:pt x="207" y="753"/>
                    <a:pt x="207" y="753"/>
                    <a:pt x="207" y="753"/>
                  </a:cubicBezTo>
                  <a:cubicBezTo>
                    <a:pt x="2" y="1435"/>
                    <a:pt x="2" y="1435"/>
                    <a:pt x="2" y="1435"/>
                  </a:cubicBezTo>
                  <a:cubicBezTo>
                    <a:pt x="182" y="1435"/>
                    <a:pt x="182" y="1435"/>
                    <a:pt x="182" y="1435"/>
                  </a:cubicBezTo>
                  <a:cubicBezTo>
                    <a:pt x="273" y="1133"/>
                    <a:pt x="273" y="1133"/>
                    <a:pt x="273" y="1133"/>
                  </a:cubicBezTo>
                  <a:cubicBezTo>
                    <a:pt x="299" y="1133"/>
                    <a:pt x="299" y="1133"/>
                    <a:pt x="299" y="1133"/>
                  </a:cubicBezTo>
                  <a:cubicBezTo>
                    <a:pt x="448" y="1435"/>
                    <a:pt x="448" y="1435"/>
                    <a:pt x="448" y="1435"/>
                  </a:cubicBezTo>
                  <a:cubicBezTo>
                    <a:pt x="665" y="1435"/>
                    <a:pt x="665" y="1435"/>
                    <a:pt x="665" y="1435"/>
                  </a:cubicBezTo>
                  <a:cubicBezTo>
                    <a:pt x="520" y="1133"/>
                    <a:pt x="520" y="1133"/>
                    <a:pt x="520" y="1133"/>
                  </a:cubicBezTo>
                  <a:cubicBezTo>
                    <a:pt x="849" y="1133"/>
                    <a:pt x="849" y="1133"/>
                    <a:pt x="849" y="1133"/>
                  </a:cubicBezTo>
                  <a:cubicBezTo>
                    <a:pt x="758" y="1435"/>
                    <a:pt x="758" y="1435"/>
                    <a:pt x="758" y="1435"/>
                  </a:cubicBezTo>
                  <a:cubicBezTo>
                    <a:pt x="955" y="1435"/>
                    <a:pt x="955" y="1435"/>
                    <a:pt x="955" y="1435"/>
                  </a:cubicBezTo>
                  <a:cubicBezTo>
                    <a:pt x="1045" y="1134"/>
                    <a:pt x="1045" y="1134"/>
                    <a:pt x="1045" y="1134"/>
                  </a:cubicBezTo>
                  <a:cubicBezTo>
                    <a:pt x="1088" y="1134"/>
                    <a:pt x="1088" y="1134"/>
                    <a:pt x="1088" y="1134"/>
                  </a:cubicBezTo>
                  <a:cubicBezTo>
                    <a:pt x="1088" y="1133"/>
                    <a:pt x="1088" y="1133"/>
                    <a:pt x="1088" y="1133"/>
                  </a:cubicBezTo>
                  <a:cubicBezTo>
                    <a:pt x="1150" y="1133"/>
                    <a:pt x="1150" y="1133"/>
                    <a:pt x="1150" y="1133"/>
                  </a:cubicBezTo>
                  <a:cubicBezTo>
                    <a:pt x="1155" y="1133"/>
                    <a:pt x="1155" y="1133"/>
                    <a:pt x="1155" y="1133"/>
                  </a:cubicBezTo>
                  <a:cubicBezTo>
                    <a:pt x="1527" y="1133"/>
                    <a:pt x="1527" y="1133"/>
                    <a:pt x="1527" y="1133"/>
                  </a:cubicBezTo>
                  <a:cubicBezTo>
                    <a:pt x="1440" y="1434"/>
                    <a:pt x="1440" y="1434"/>
                    <a:pt x="1440" y="1434"/>
                  </a:cubicBezTo>
                  <a:cubicBezTo>
                    <a:pt x="1638" y="1434"/>
                    <a:pt x="1638" y="1434"/>
                    <a:pt x="1638" y="1434"/>
                  </a:cubicBezTo>
                  <a:cubicBezTo>
                    <a:pt x="1722" y="1133"/>
                    <a:pt x="1722" y="1133"/>
                    <a:pt x="1722" y="1133"/>
                  </a:cubicBezTo>
                  <a:cubicBezTo>
                    <a:pt x="1812" y="1133"/>
                    <a:pt x="1812" y="1133"/>
                    <a:pt x="1812" y="1133"/>
                  </a:cubicBezTo>
                  <a:cubicBezTo>
                    <a:pt x="1814" y="1434"/>
                    <a:pt x="1814" y="1434"/>
                    <a:pt x="1814" y="1434"/>
                  </a:cubicBezTo>
                  <a:cubicBezTo>
                    <a:pt x="1980" y="1434"/>
                    <a:pt x="1980" y="1434"/>
                    <a:pt x="1980" y="1434"/>
                  </a:cubicBezTo>
                  <a:cubicBezTo>
                    <a:pt x="2171" y="1133"/>
                    <a:pt x="2171" y="1133"/>
                    <a:pt x="2171" y="1133"/>
                  </a:cubicBezTo>
                  <a:cubicBezTo>
                    <a:pt x="2296" y="1133"/>
                    <a:pt x="2296" y="1133"/>
                    <a:pt x="2296" y="1133"/>
                  </a:cubicBezTo>
                  <a:cubicBezTo>
                    <a:pt x="2232" y="1434"/>
                    <a:pt x="2232" y="1434"/>
                    <a:pt x="2232" y="1434"/>
                  </a:cubicBezTo>
                  <a:cubicBezTo>
                    <a:pt x="2427" y="1434"/>
                    <a:pt x="2427" y="1434"/>
                    <a:pt x="2427" y="1434"/>
                  </a:cubicBezTo>
                  <a:cubicBezTo>
                    <a:pt x="2491" y="1133"/>
                    <a:pt x="2491" y="1133"/>
                    <a:pt x="2491" y="1133"/>
                  </a:cubicBezTo>
                  <a:cubicBezTo>
                    <a:pt x="2604" y="1133"/>
                    <a:pt x="2604" y="1133"/>
                    <a:pt x="2604" y="1133"/>
                  </a:cubicBezTo>
                  <a:cubicBezTo>
                    <a:pt x="2599" y="1226"/>
                    <a:pt x="2623" y="1311"/>
                    <a:pt x="2685" y="1368"/>
                  </a:cubicBezTo>
                  <a:cubicBezTo>
                    <a:pt x="2761" y="1438"/>
                    <a:pt x="2877" y="1451"/>
                    <a:pt x="2963" y="1451"/>
                  </a:cubicBezTo>
                  <a:cubicBezTo>
                    <a:pt x="3081" y="1451"/>
                    <a:pt x="3203" y="1434"/>
                    <a:pt x="3326" y="1407"/>
                  </a:cubicBezTo>
                  <a:cubicBezTo>
                    <a:pt x="3394" y="1133"/>
                    <a:pt x="3394" y="1133"/>
                    <a:pt x="3394" y="1133"/>
                  </a:cubicBezTo>
                  <a:cubicBezTo>
                    <a:pt x="3617" y="1133"/>
                    <a:pt x="3617" y="1133"/>
                    <a:pt x="3617" y="1133"/>
                  </a:cubicBezTo>
                  <a:cubicBezTo>
                    <a:pt x="3617" y="0"/>
                    <a:pt x="3617" y="0"/>
                    <a:pt x="3617" y="0"/>
                  </a:cubicBezTo>
                  <a:lnTo>
                    <a:pt x="2814" y="0"/>
                  </a:lnTo>
                  <a:close/>
                  <a:moveTo>
                    <a:pt x="351" y="1894"/>
                  </a:moveTo>
                  <a:cubicBezTo>
                    <a:pt x="321" y="2038"/>
                    <a:pt x="321" y="2038"/>
                    <a:pt x="321" y="2038"/>
                  </a:cubicBezTo>
                  <a:cubicBezTo>
                    <a:pt x="316" y="2060"/>
                    <a:pt x="309" y="2092"/>
                    <a:pt x="348" y="2092"/>
                  </a:cubicBezTo>
                  <a:cubicBezTo>
                    <a:pt x="393" y="2092"/>
                    <a:pt x="400" y="2058"/>
                    <a:pt x="409" y="2016"/>
                  </a:cubicBezTo>
                  <a:cubicBezTo>
                    <a:pt x="435" y="1894"/>
                    <a:pt x="435" y="1894"/>
                    <a:pt x="435" y="1894"/>
                  </a:cubicBezTo>
                  <a:cubicBezTo>
                    <a:pt x="508" y="1894"/>
                    <a:pt x="508" y="1894"/>
                    <a:pt x="508" y="1894"/>
                  </a:cubicBezTo>
                  <a:cubicBezTo>
                    <a:pt x="474" y="2053"/>
                    <a:pt x="474" y="2053"/>
                    <a:pt x="474" y="2053"/>
                  </a:cubicBezTo>
                  <a:cubicBezTo>
                    <a:pt x="464" y="2106"/>
                    <a:pt x="463" y="2112"/>
                    <a:pt x="462" y="2118"/>
                  </a:cubicBezTo>
                  <a:cubicBezTo>
                    <a:pt x="461" y="2125"/>
                    <a:pt x="460" y="2130"/>
                    <a:pt x="460" y="2136"/>
                  </a:cubicBezTo>
                  <a:cubicBezTo>
                    <a:pt x="391" y="2136"/>
                    <a:pt x="391" y="2136"/>
                    <a:pt x="391" y="2136"/>
                  </a:cubicBezTo>
                  <a:cubicBezTo>
                    <a:pt x="395" y="2104"/>
                    <a:pt x="395" y="2104"/>
                    <a:pt x="395" y="2104"/>
                  </a:cubicBezTo>
                  <a:cubicBezTo>
                    <a:pt x="386" y="2115"/>
                    <a:pt x="362" y="2143"/>
                    <a:pt x="315" y="2143"/>
                  </a:cubicBezTo>
                  <a:cubicBezTo>
                    <a:pt x="283" y="2143"/>
                    <a:pt x="259" y="2128"/>
                    <a:pt x="250" y="2110"/>
                  </a:cubicBezTo>
                  <a:cubicBezTo>
                    <a:pt x="238" y="2090"/>
                    <a:pt x="245" y="2056"/>
                    <a:pt x="248" y="2045"/>
                  </a:cubicBezTo>
                  <a:cubicBezTo>
                    <a:pt x="279" y="1894"/>
                    <a:pt x="279" y="1894"/>
                    <a:pt x="279" y="1894"/>
                  </a:cubicBezTo>
                  <a:lnTo>
                    <a:pt x="351" y="1894"/>
                  </a:lnTo>
                  <a:close/>
                  <a:moveTo>
                    <a:pt x="812" y="1942"/>
                  </a:moveTo>
                  <a:cubicBezTo>
                    <a:pt x="870" y="1942"/>
                    <a:pt x="870" y="1942"/>
                    <a:pt x="870" y="1942"/>
                  </a:cubicBezTo>
                  <a:cubicBezTo>
                    <a:pt x="880" y="1895"/>
                    <a:pt x="880" y="1895"/>
                    <a:pt x="880" y="1895"/>
                  </a:cubicBezTo>
                  <a:cubicBezTo>
                    <a:pt x="822" y="1895"/>
                    <a:pt x="822" y="1895"/>
                    <a:pt x="822" y="1895"/>
                  </a:cubicBezTo>
                  <a:cubicBezTo>
                    <a:pt x="838" y="1822"/>
                    <a:pt x="838" y="1822"/>
                    <a:pt x="838" y="1822"/>
                  </a:cubicBezTo>
                  <a:cubicBezTo>
                    <a:pt x="762" y="1848"/>
                    <a:pt x="762" y="1848"/>
                    <a:pt x="762" y="1848"/>
                  </a:cubicBezTo>
                  <a:cubicBezTo>
                    <a:pt x="752" y="1895"/>
                    <a:pt x="752" y="1895"/>
                    <a:pt x="752" y="1895"/>
                  </a:cubicBezTo>
                  <a:cubicBezTo>
                    <a:pt x="654" y="1895"/>
                    <a:pt x="654" y="1895"/>
                    <a:pt x="654" y="1895"/>
                  </a:cubicBezTo>
                  <a:cubicBezTo>
                    <a:pt x="670" y="1822"/>
                    <a:pt x="670" y="1822"/>
                    <a:pt x="670" y="1822"/>
                  </a:cubicBezTo>
                  <a:cubicBezTo>
                    <a:pt x="594" y="1848"/>
                    <a:pt x="594" y="1848"/>
                    <a:pt x="594" y="1848"/>
                  </a:cubicBezTo>
                  <a:cubicBezTo>
                    <a:pt x="584" y="1895"/>
                    <a:pt x="584" y="1895"/>
                    <a:pt x="584" y="1895"/>
                  </a:cubicBezTo>
                  <a:cubicBezTo>
                    <a:pt x="537" y="1895"/>
                    <a:pt x="537" y="1895"/>
                    <a:pt x="537" y="1895"/>
                  </a:cubicBezTo>
                  <a:cubicBezTo>
                    <a:pt x="527" y="1942"/>
                    <a:pt x="527" y="1942"/>
                    <a:pt x="527" y="1942"/>
                  </a:cubicBezTo>
                  <a:cubicBezTo>
                    <a:pt x="574" y="1942"/>
                    <a:pt x="574" y="1942"/>
                    <a:pt x="574" y="1942"/>
                  </a:cubicBezTo>
                  <a:cubicBezTo>
                    <a:pt x="545" y="2075"/>
                    <a:pt x="545" y="2075"/>
                    <a:pt x="545" y="2075"/>
                  </a:cubicBezTo>
                  <a:cubicBezTo>
                    <a:pt x="541" y="2095"/>
                    <a:pt x="531" y="2141"/>
                    <a:pt x="603" y="2141"/>
                  </a:cubicBezTo>
                  <a:cubicBezTo>
                    <a:pt x="615" y="2141"/>
                    <a:pt x="636" y="2139"/>
                    <a:pt x="660" y="2133"/>
                  </a:cubicBezTo>
                  <a:cubicBezTo>
                    <a:pt x="670" y="2086"/>
                    <a:pt x="670" y="2086"/>
                    <a:pt x="670" y="2086"/>
                  </a:cubicBezTo>
                  <a:cubicBezTo>
                    <a:pt x="661" y="2087"/>
                    <a:pt x="656" y="2088"/>
                    <a:pt x="645" y="2088"/>
                  </a:cubicBezTo>
                  <a:cubicBezTo>
                    <a:pt x="614" y="2088"/>
                    <a:pt x="617" y="2074"/>
                    <a:pt x="621" y="2052"/>
                  </a:cubicBezTo>
                  <a:cubicBezTo>
                    <a:pt x="645" y="1942"/>
                    <a:pt x="645" y="1942"/>
                    <a:pt x="645" y="1942"/>
                  </a:cubicBezTo>
                  <a:cubicBezTo>
                    <a:pt x="741" y="1942"/>
                    <a:pt x="741" y="1942"/>
                    <a:pt x="741" y="1942"/>
                  </a:cubicBezTo>
                  <a:cubicBezTo>
                    <a:pt x="713" y="2075"/>
                    <a:pt x="713" y="2075"/>
                    <a:pt x="713" y="2075"/>
                  </a:cubicBezTo>
                  <a:cubicBezTo>
                    <a:pt x="709" y="2095"/>
                    <a:pt x="699" y="2141"/>
                    <a:pt x="771" y="2141"/>
                  </a:cubicBezTo>
                  <a:cubicBezTo>
                    <a:pt x="782" y="2141"/>
                    <a:pt x="804" y="2139"/>
                    <a:pt x="828" y="2133"/>
                  </a:cubicBezTo>
                  <a:cubicBezTo>
                    <a:pt x="838" y="2086"/>
                    <a:pt x="838" y="2086"/>
                    <a:pt x="838" y="2086"/>
                  </a:cubicBezTo>
                  <a:cubicBezTo>
                    <a:pt x="829" y="2087"/>
                    <a:pt x="824" y="2088"/>
                    <a:pt x="813" y="2088"/>
                  </a:cubicBezTo>
                  <a:cubicBezTo>
                    <a:pt x="781" y="2088"/>
                    <a:pt x="785" y="2074"/>
                    <a:pt x="788" y="2052"/>
                  </a:cubicBezTo>
                  <a:lnTo>
                    <a:pt x="812" y="1942"/>
                  </a:lnTo>
                  <a:close/>
                  <a:moveTo>
                    <a:pt x="916" y="1893"/>
                  </a:moveTo>
                  <a:cubicBezTo>
                    <a:pt x="987" y="1893"/>
                    <a:pt x="987" y="1893"/>
                    <a:pt x="987" y="1893"/>
                  </a:cubicBezTo>
                  <a:cubicBezTo>
                    <a:pt x="935" y="2136"/>
                    <a:pt x="935" y="2136"/>
                    <a:pt x="935" y="2136"/>
                  </a:cubicBezTo>
                  <a:cubicBezTo>
                    <a:pt x="864" y="2136"/>
                    <a:pt x="864" y="2136"/>
                    <a:pt x="864" y="2136"/>
                  </a:cubicBezTo>
                  <a:lnTo>
                    <a:pt x="916" y="1893"/>
                  </a:lnTo>
                  <a:close/>
                  <a:moveTo>
                    <a:pt x="935" y="1790"/>
                  </a:moveTo>
                  <a:cubicBezTo>
                    <a:pt x="1011" y="1790"/>
                    <a:pt x="1011" y="1790"/>
                    <a:pt x="1011" y="1790"/>
                  </a:cubicBezTo>
                  <a:cubicBezTo>
                    <a:pt x="998" y="1851"/>
                    <a:pt x="998" y="1851"/>
                    <a:pt x="998" y="1851"/>
                  </a:cubicBezTo>
                  <a:cubicBezTo>
                    <a:pt x="922" y="1851"/>
                    <a:pt x="922" y="1851"/>
                    <a:pt x="922" y="1851"/>
                  </a:cubicBezTo>
                  <a:lnTo>
                    <a:pt x="935" y="1790"/>
                  </a:lnTo>
                  <a:close/>
                  <a:moveTo>
                    <a:pt x="1034" y="1937"/>
                  </a:moveTo>
                  <a:cubicBezTo>
                    <a:pt x="1034" y="1936"/>
                    <a:pt x="1040" y="1909"/>
                    <a:pt x="1042" y="1893"/>
                  </a:cubicBezTo>
                  <a:cubicBezTo>
                    <a:pt x="1110" y="1893"/>
                    <a:pt x="1110" y="1893"/>
                    <a:pt x="1110" y="1893"/>
                  </a:cubicBezTo>
                  <a:cubicBezTo>
                    <a:pt x="1104" y="1929"/>
                    <a:pt x="1104" y="1929"/>
                    <a:pt x="1104" y="1929"/>
                  </a:cubicBezTo>
                  <a:cubicBezTo>
                    <a:pt x="1113" y="1918"/>
                    <a:pt x="1139" y="1887"/>
                    <a:pt x="1192" y="1887"/>
                  </a:cubicBezTo>
                  <a:cubicBezTo>
                    <a:pt x="1239" y="1887"/>
                    <a:pt x="1254" y="1916"/>
                    <a:pt x="1256" y="1933"/>
                  </a:cubicBezTo>
                  <a:cubicBezTo>
                    <a:pt x="1259" y="1948"/>
                    <a:pt x="1257" y="1960"/>
                    <a:pt x="1248" y="2005"/>
                  </a:cubicBezTo>
                  <a:cubicBezTo>
                    <a:pt x="1220" y="2136"/>
                    <a:pt x="1220" y="2136"/>
                    <a:pt x="1220" y="2136"/>
                  </a:cubicBezTo>
                  <a:cubicBezTo>
                    <a:pt x="1147" y="2136"/>
                    <a:pt x="1147" y="2136"/>
                    <a:pt x="1147" y="2136"/>
                  </a:cubicBezTo>
                  <a:cubicBezTo>
                    <a:pt x="1179" y="1985"/>
                    <a:pt x="1179" y="1985"/>
                    <a:pt x="1179" y="1985"/>
                  </a:cubicBezTo>
                  <a:cubicBezTo>
                    <a:pt x="1181" y="1975"/>
                    <a:pt x="1183" y="1967"/>
                    <a:pt x="1181" y="1959"/>
                  </a:cubicBezTo>
                  <a:cubicBezTo>
                    <a:pt x="1178" y="1949"/>
                    <a:pt x="1169" y="1938"/>
                    <a:pt x="1151" y="1938"/>
                  </a:cubicBezTo>
                  <a:cubicBezTo>
                    <a:pt x="1136" y="1938"/>
                    <a:pt x="1120" y="1946"/>
                    <a:pt x="1110" y="1957"/>
                  </a:cubicBezTo>
                  <a:cubicBezTo>
                    <a:pt x="1104" y="1963"/>
                    <a:pt x="1097" y="1975"/>
                    <a:pt x="1093" y="1994"/>
                  </a:cubicBezTo>
                  <a:cubicBezTo>
                    <a:pt x="1063" y="2136"/>
                    <a:pt x="1063" y="2136"/>
                    <a:pt x="1063" y="2136"/>
                  </a:cubicBezTo>
                  <a:cubicBezTo>
                    <a:pt x="992" y="2136"/>
                    <a:pt x="992" y="2136"/>
                    <a:pt x="992" y="2136"/>
                  </a:cubicBezTo>
                  <a:lnTo>
                    <a:pt x="1034" y="1937"/>
                  </a:lnTo>
                  <a:close/>
                  <a:moveTo>
                    <a:pt x="1558" y="1895"/>
                  </a:moveTo>
                  <a:cubicBezTo>
                    <a:pt x="1552" y="1914"/>
                    <a:pt x="1547" y="1930"/>
                    <a:pt x="1542" y="1955"/>
                  </a:cubicBezTo>
                  <a:cubicBezTo>
                    <a:pt x="1504" y="2134"/>
                    <a:pt x="1504" y="2134"/>
                    <a:pt x="1504" y="2134"/>
                  </a:cubicBezTo>
                  <a:cubicBezTo>
                    <a:pt x="1486" y="2223"/>
                    <a:pt x="1409" y="2232"/>
                    <a:pt x="1363" y="2232"/>
                  </a:cubicBezTo>
                  <a:cubicBezTo>
                    <a:pt x="1328" y="2232"/>
                    <a:pt x="1261" y="2228"/>
                    <a:pt x="1272" y="2154"/>
                  </a:cubicBezTo>
                  <a:cubicBezTo>
                    <a:pt x="1340" y="2154"/>
                    <a:pt x="1340" y="2154"/>
                    <a:pt x="1340" y="2154"/>
                  </a:cubicBezTo>
                  <a:cubicBezTo>
                    <a:pt x="1340" y="2158"/>
                    <a:pt x="1339" y="2166"/>
                    <a:pt x="1344" y="2174"/>
                  </a:cubicBezTo>
                  <a:cubicBezTo>
                    <a:pt x="1348" y="2181"/>
                    <a:pt x="1357" y="2188"/>
                    <a:pt x="1375" y="2188"/>
                  </a:cubicBezTo>
                  <a:cubicBezTo>
                    <a:pt x="1397" y="2188"/>
                    <a:pt x="1417" y="2178"/>
                    <a:pt x="1427" y="2156"/>
                  </a:cubicBezTo>
                  <a:cubicBezTo>
                    <a:pt x="1432" y="2144"/>
                    <a:pt x="1434" y="2135"/>
                    <a:pt x="1442" y="2099"/>
                  </a:cubicBezTo>
                  <a:cubicBezTo>
                    <a:pt x="1413" y="2128"/>
                    <a:pt x="1387" y="2132"/>
                    <a:pt x="1370" y="2132"/>
                  </a:cubicBezTo>
                  <a:cubicBezTo>
                    <a:pt x="1300" y="2132"/>
                    <a:pt x="1280" y="2071"/>
                    <a:pt x="1293" y="2012"/>
                  </a:cubicBezTo>
                  <a:cubicBezTo>
                    <a:pt x="1306" y="1951"/>
                    <a:pt x="1352" y="1892"/>
                    <a:pt x="1422" y="1892"/>
                  </a:cubicBezTo>
                  <a:cubicBezTo>
                    <a:pt x="1466" y="1892"/>
                    <a:pt x="1477" y="1916"/>
                    <a:pt x="1482" y="1927"/>
                  </a:cubicBezTo>
                  <a:cubicBezTo>
                    <a:pt x="1492" y="1895"/>
                    <a:pt x="1492" y="1895"/>
                    <a:pt x="1492" y="1895"/>
                  </a:cubicBezTo>
                  <a:lnTo>
                    <a:pt x="1558" y="1895"/>
                  </a:lnTo>
                  <a:close/>
                  <a:moveTo>
                    <a:pt x="1397" y="2083"/>
                  </a:moveTo>
                  <a:cubicBezTo>
                    <a:pt x="1447" y="2083"/>
                    <a:pt x="1459" y="2025"/>
                    <a:pt x="1461" y="2014"/>
                  </a:cubicBezTo>
                  <a:cubicBezTo>
                    <a:pt x="1467" y="1986"/>
                    <a:pt x="1472" y="1940"/>
                    <a:pt x="1428" y="1940"/>
                  </a:cubicBezTo>
                  <a:cubicBezTo>
                    <a:pt x="1401" y="1940"/>
                    <a:pt x="1375" y="1960"/>
                    <a:pt x="1364" y="2012"/>
                  </a:cubicBezTo>
                  <a:cubicBezTo>
                    <a:pt x="1362" y="2025"/>
                    <a:pt x="1349" y="2083"/>
                    <a:pt x="1397" y="2083"/>
                  </a:cubicBezTo>
                  <a:moveTo>
                    <a:pt x="1842" y="2133"/>
                  </a:moveTo>
                  <a:cubicBezTo>
                    <a:pt x="1818" y="2139"/>
                    <a:pt x="1797" y="2141"/>
                    <a:pt x="1786" y="2141"/>
                  </a:cubicBezTo>
                  <a:cubicBezTo>
                    <a:pt x="1714" y="2141"/>
                    <a:pt x="1723" y="2095"/>
                    <a:pt x="1728" y="2075"/>
                  </a:cubicBezTo>
                  <a:cubicBezTo>
                    <a:pt x="1756" y="1942"/>
                    <a:pt x="1756" y="1942"/>
                    <a:pt x="1756" y="1942"/>
                  </a:cubicBezTo>
                  <a:cubicBezTo>
                    <a:pt x="1710" y="1942"/>
                    <a:pt x="1710" y="1942"/>
                    <a:pt x="1710" y="1942"/>
                  </a:cubicBezTo>
                  <a:cubicBezTo>
                    <a:pt x="1719" y="1895"/>
                    <a:pt x="1719" y="1895"/>
                    <a:pt x="1719" y="1895"/>
                  </a:cubicBezTo>
                  <a:cubicBezTo>
                    <a:pt x="1766" y="1895"/>
                    <a:pt x="1766" y="1895"/>
                    <a:pt x="1766" y="1895"/>
                  </a:cubicBezTo>
                  <a:cubicBezTo>
                    <a:pt x="1776" y="1848"/>
                    <a:pt x="1776" y="1848"/>
                    <a:pt x="1776" y="1848"/>
                  </a:cubicBezTo>
                  <a:cubicBezTo>
                    <a:pt x="1852" y="1822"/>
                    <a:pt x="1852" y="1822"/>
                    <a:pt x="1852" y="1822"/>
                  </a:cubicBezTo>
                  <a:cubicBezTo>
                    <a:pt x="1837" y="1895"/>
                    <a:pt x="1837" y="1895"/>
                    <a:pt x="1837" y="1895"/>
                  </a:cubicBezTo>
                  <a:cubicBezTo>
                    <a:pt x="1895" y="1895"/>
                    <a:pt x="1895" y="1895"/>
                    <a:pt x="1895" y="1895"/>
                  </a:cubicBezTo>
                  <a:cubicBezTo>
                    <a:pt x="1884" y="1942"/>
                    <a:pt x="1884" y="1942"/>
                    <a:pt x="1884" y="1942"/>
                  </a:cubicBezTo>
                  <a:cubicBezTo>
                    <a:pt x="1827" y="1942"/>
                    <a:pt x="1827" y="1942"/>
                    <a:pt x="1827" y="1942"/>
                  </a:cubicBezTo>
                  <a:cubicBezTo>
                    <a:pt x="1803" y="2052"/>
                    <a:pt x="1803" y="2052"/>
                    <a:pt x="1803" y="2052"/>
                  </a:cubicBezTo>
                  <a:cubicBezTo>
                    <a:pt x="1799" y="2074"/>
                    <a:pt x="1796" y="2088"/>
                    <a:pt x="1828" y="2088"/>
                  </a:cubicBezTo>
                  <a:cubicBezTo>
                    <a:pt x="1838" y="2088"/>
                    <a:pt x="1844" y="2087"/>
                    <a:pt x="1852" y="2086"/>
                  </a:cubicBezTo>
                  <a:lnTo>
                    <a:pt x="1842" y="2133"/>
                  </a:lnTo>
                  <a:close/>
                  <a:moveTo>
                    <a:pt x="1954" y="1790"/>
                  </a:moveTo>
                  <a:cubicBezTo>
                    <a:pt x="2025" y="1790"/>
                    <a:pt x="2025" y="1790"/>
                    <a:pt x="2025" y="1790"/>
                  </a:cubicBezTo>
                  <a:cubicBezTo>
                    <a:pt x="1996" y="1927"/>
                    <a:pt x="1996" y="1927"/>
                    <a:pt x="1996" y="1927"/>
                  </a:cubicBezTo>
                  <a:cubicBezTo>
                    <a:pt x="2007" y="1915"/>
                    <a:pt x="2030" y="1890"/>
                    <a:pt x="2074" y="1890"/>
                  </a:cubicBezTo>
                  <a:cubicBezTo>
                    <a:pt x="2110" y="1890"/>
                    <a:pt x="2129" y="1908"/>
                    <a:pt x="2137" y="1923"/>
                  </a:cubicBezTo>
                  <a:cubicBezTo>
                    <a:pt x="2143" y="1935"/>
                    <a:pt x="2146" y="1957"/>
                    <a:pt x="2139" y="1989"/>
                  </a:cubicBezTo>
                  <a:cubicBezTo>
                    <a:pt x="2108" y="2136"/>
                    <a:pt x="2108" y="2136"/>
                    <a:pt x="2108" y="2136"/>
                  </a:cubicBezTo>
                  <a:cubicBezTo>
                    <a:pt x="2037" y="2136"/>
                    <a:pt x="2037" y="2136"/>
                    <a:pt x="2037" y="2136"/>
                  </a:cubicBezTo>
                  <a:cubicBezTo>
                    <a:pt x="2068" y="1991"/>
                    <a:pt x="2068" y="1991"/>
                    <a:pt x="2068" y="1991"/>
                  </a:cubicBezTo>
                  <a:cubicBezTo>
                    <a:pt x="2071" y="1977"/>
                    <a:pt x="2079" y="1938"/>
                    <a:pt x="2040" y="1938"/>
                  </a:cubicBezTo>
                  <a:cubicBezTo>
                    <a:pt x="2019" y="1938"/>
                    <a:pt x="1991" y="1950"/>
                    <a:pt x="1983" y="1988"/>
                  </a:cubicBezTo>
                  <a:cubicBezTo>
                    <a:pt x="1952" y="2136"/>
                    <a:pt x="1952" y="2136"/>
                    <a:pt x="1952" y="2136"/>
                  </a:cubicBezTo>
                  <a:cubicBezTo>
                    <a:pt x="1881" y="2136"/>
                    <a:pt x="1881" y="2136"/>
                    <a:pt x="1881" y="2136"/>
                  </a:cubicBezTo>
                  <a:lnTo>
                    <a:pt x="1954" y="1790"/>
                  </a:lnTo>
                  <a:close/>
                  <a:moveTo>
                    <a:pt x="2195" y="1953"/>
                  </a:moveTo>
                  <a:cubicBezTo>
                    <a:pt x="2197" y="1942"/>
                    <a:pt x="2203" y="1906"/>
                    <a:pt x="2205" y="1893"/>
                  </a:cubicBezTo>
                  <a:cubicBezTo>
                    <a:pt x="2271" y="1893"/>
                    <a:pt x="2271" y="1893"/>
                    <a:pt x="2271" y="1893"/>
                  </a:cubicBezTo>
                  <a:cubicBezTo>
                    <a:pt x="2263" y="1939"/>
                    <a:pt x="2263" y="1939"/>
                    <a:pt x="2263" y="1939"/>
                  </a:cubicBezTo>
                  <a:cubicBezTo>
                    <a:pt x="2276" y="1919"/>
                    <a:pt x="2298" y="1889"/>
                    <a:pt x="2356" y="1892"/>
                  </a:cubicBezTo>
                  <a:cubicBezTo>
                    <a:pt x="2342" y="1956"/>
                    <a:pt x="2342" y="1956"/>
                    <a:pt x="2342" y="1956"/>
                  </a:cubicBezTo>
                  <a:cubicBezTo>
                    <a:pt x="2271" y="1949"/>
                    <a:pt x="2259" y="1986"/>
                    <a:pt x="2253" y="2017"/>
                  </a:cubicBezTo>
                  <a:cubicBezTo>
                    <a:pt x="2227" y="2136"/>
                    <a:pt x="2227" y="2136"/>
                    <a:pt x="2227" y="2136"/>
                  </a:cubicBezTo>
                  <a:cubicBezTo>
                    <a:pt x="2156" y="2136"/>
                    <a:pt x="2156" y="2136"/>
                    <a:pt x="2156" y="2136"/>
                  </a:cubicBezTo>
                  <a:lnTo>
                    <a:pt x="2195" y="1953"/>
                  </a:lnTo>
                  <a:close/>
                  <a:moveTo>
                    <a:pt x="2503" y="1888"/>
                  </a:moveTo>
                  <a:cubicBezTo>
                    <a:pt x="2591" y="1888"/>
                    <a:pt x="2617" y="1948"/>
                    <a:pt x="2602" y="2015"/>
                  </a:cubicBezTo>
                  <a:cubicBezTo>
                    <a:pt x="2587" y="2083"/>
                    <a:pt x="2535" y="2145"/>
                    <a:pt x="2447" y="2145"/>
                  </a:cubicBezTo>
                  <a:cubicBezTo>
                    <a:pt x="2378" y="2145"/>
                    <a:pt x="2332" y="2102"/>
                    <a:pt x="2350" y="2017"/>
                  </a:cubicBezTo>
                  <a:cubicBezTo>
                    <a:pt x="2362" y="1959"/>
                    <a:pt x="2408" y="1888"/>
                    <a:pt x="2503" y="1888"/>
                  </a:cubicBezTo>
                  <a:moveTo>
                    <a:pt x="2460" y="2095"/>
                  </a:moveTo>
                  <a:cubicBezTo>
                    <a:pt x="2491" y="2095"/>
                    <a:pt x="2516" y="2077"/>
                    <a:pt x="2530" y="2012"/>
                  </a:cubicBezTo>
                  <a:cubicBezTo>
                    <a:pt x="2537" y="1980"/>
                    <a:pt x="2540" y="1935"/>
                    <a:pt x="2493" y="1935"/>
                  </a:cubicBezTo>
                  <a:cubicBezTo>
                    <a:pt x="2441" y="1935"/>
                    <a:pt x="2427" y="1995"/>
                    <a:pt x="2423" y="2018"/>
                  </a:cubicBezTo>
                  <a:cubicBezTo>
                    <a:pt x="2411" y="2072"/>
                    <a:pt x="2425" y="2095"/>
                    <a:pt x="2460" y="2095"/>
                  </a:cubicBezTo>
                  <a:moveTo>
                    <a:pt x="2743" y="1894"/>
                  </a:moveTo>
                  <a:cubicBezTo>
                    <a:pt x="2713" y="2038"/>
                    <a:pt x="2713" y="2038"/>
                    <a:pt x="2713" y="2038"/>
                  </a:cubicBezTo>
                  <a:cubicBezTo>
                    <a:pt x="2708" y="2060"/>
                    <a:pt x="2701" y="2092"/>
                    <a:pt x="2740" y="2092"/>
                  </a:cubicBezTo>
                  <a:cubicBezTo>
                    <a:pt x="2785" y="2092"/>
                    <a:pt x="2792" y="2058"/>
                    <a:pt x="2801" y="2016"/>
                  </a:cubicBezTo>
                  <a:cubicBezTo>
                    <a:pt x="2827" y="1894"/>
                    <a:pt x="2827" y="1894"/>
                    <a:pt x="2827" y="1894"/>
                  </a:cubicBezTo>
                  <a:cubicBezTo>
                    <a:pt x="2900" y="1894"/>
                    <a:pt x="2900" y="1894"/>
                    <a:pt x="2900" y="1894"/>
                  </a:cubicBezTo>
                  <a:cubicBezTo>
                    <a:pt x="2867" y="2053"/>
                    <a:pt x="2867" y="2053"/>
                    <a:pt x="2867" y="2053"/>
                  </a:cubicBezTo>
                  <a:cubicBezTo>
                    <a:pt x="2856" y="2106"/>
                    <a:pt x="2855" y="2112"/>
                    <a:pt x="2854" y="2118"/>
                  </a:cubicBezTo>
                  <a:cubicBezTo>
                    <a:pt x="2853" y="2125"/>
                    <a:pt x="2852" y="2130"/>
                    <a:pt x="2852" y="2136"/>
                  </a:cubicBezTo>
                  <a:cubicBezTo>
                    <a:pt x="2783" y="2136"/>
                    <a:pt x="2783" y="2136"/>
                    <a:pt x="2783" y="2136"/>
                  </a:cubicBezTo>
                  <a:cubicBezTo>
                    <a:pt x="2787" y="2104"/>
                    <a:pt x="2787" y="2104"/>
                    <a:pt x="2787" y="2104"/>
                  </a:cubicBezTo>
                  <a:cubicBezTo>
                    <a:pt x="2778" y="2115"/>
                    <a:pt x="2753" y="2143"/>
                    <a:pt x="2707" y="2143"/>
                  </a:cubicBezTo>
                  <a:cubicBezTo>
                    <a:pt x="2675" y="2143"/>
                    <a:pt x="2651" y="2128"/>
                    <a:pt x="2641" y="2110"/>
                  </a:cubicBezTo>
                  <a:cubicBezTo>
                    <a:pt x="2630" y="2090"/>
                    <a:pt x="2637" y="2056"/>
                    <a:pt x="2639" y="2045"/>
                  </a:cubicBezTo>
                  <a:cubicBezTo>
                    <a:pt x="2671" y="1894"/>
                    <a:pt x="2671" y="1894"/>
                    <a:pt x="2671" y="1894"/>
                  </a:cubicBezTo>
                  <a:lnTo>
                    <a:pt x="2743" y="1894"/>
                  </a:lnTo>
                  <a:close/>
                  <a:moveTo>
                    <a:pt x="3181" y="1895"/>
                  </a:moveTo>
                  <a:cubicBezTo>
                    <a:pt x="3175" y="1914"/>
                    <a:pt x="3170" y="1930"/>
                    <a:pt x="3164" y="1955"/>
                  </a:cubicBezTo>
                  <a:cubicBezTo>
                    <a:pt x="3126" y="2134"/>
                    <a:pt x="3126" y="2134"/>
                    <a:pt x="3126" y="2134"/>
                  </a:cubicBezTo>
                  <a:cubicBezTo>
                    <a:pt x="3108" y="2223"/>
                    <a:pt x="3031" y="2232"/>
                    <a:pt x="2985" y="2232"/>
                  </a:cubicBezTo>
                  <a:cubicBezTo>
                    <a:pt x="2950" y="2232"/>
                    <a:pt x="2883" y="2228"/>
                    <a:pt x="2894" y="2154"/>
                  </a:cubicBezTo>
                  <a:cubicBezTo>
                    <a:pt x="2962" y="2154"/>
                    <a:pt x="2962" y="2154"/>
                    <a:pt x="2962" y="2154"/>
                  </a:cubicBezTo>
                  <a:cubicBezTo>
                    <a:pt x="2962" y="2158"/>
                    <a:pt x="2962" y="2166"/>
                    <a:pt x="2966" y="2174"/>
                  </a:cubicBezTo>
                  <a:cubicBezTo>
                    <a:pt x="2970" y="2181"/>
                    <a:pt x="2979" y="2188"/>
                    <a:pt x="2998" y="2188"/>
                  </a:cubicBezTo>
                  <a:cubicBezTo>
                    <a:pt x="3019" y="2188"/>
                    <a:pt x="3040" y="2178"/>
                    <a:pt x="3049" y="2156"/>
                  </a:cubicBezTo>
                  <a:cubicBezTo>
                    <a:pt x="3054" y="2144"/>
                    <a:pt x="3056" y="2135"/>
                    <a:pt x="3064" y="2099"/>
                  </a:cubicBezTo>
                  <a:cubicBezTo>
                    <a:pt x="3036" y="2128"/>
                    <a:pt x="3009" y="2132"/>
                    <a:pt x="2992" y="2132"/>
                  </a:cubicBezTo>
                  <a:cubicBezTo>
                    <a:pt x="2922" y="2132"/>
                    <a:pt x="2903" y="2071"/>
                    <a:pt x="2915" y="2012"/>
                  </a:cubicBezTo>
                  <a:cubicBezTo>
                    <a:pt x="2928" y="1951"/>
                    <a:pt x="2974" y="1892"/>
                    <a:pt x="3044" y="1892"/>
                  </a:cubicBezTo>
                  <a:cubicBezTo>
                    <a:pt x="3088" y="1892"/>
                    <a:pt x="3099" y="1916"/>
                    <a:pt x="3105" y="1927"/>
                  </a:cubicBezTo>
                  <a:cubicBezTo>
                    <a:pt x="3114" y="1895"/>
                    <a:pt x="3114" y="1895"/>
                    <a:pt x="3114" y="1895"/>
                  </a:cubicBezTo>
                  <a:lnTo>
                    <a:pt x="3181" y="1895"/>
                  </a:lnTo>
                  <a:close/>
                  <a:moveTo>
                    <a:pt x="3019" y="2083"/>
                  </a:moveTo>
                  <a:cubicBezTo>
                    <a:pt x="3069" y="2083"/>
                    <a:pt x="3081" y="2025"/>
                    <a:pt x="3083" y="2014"/>
                  </a:cubicBezTo>
                  <a:cubicBezTo>
                    <a:pt x="3089" y="1986"/>
                    <a:pt x="3094" y="1940"/>
                    <a:pt x="3051" y="1940"/>
                  </a:cubicBezTo>
                  <a:cubicBezTo>
                    <a:pt x="3024" y="1940"/>
                    <a:pt x="2997" y="1960"/>
                    <a:pt x="2986" y="2012"/>
                  </a:cubicBezTo>
                  <a:cubicBezTo>
                    <a:pt x="2984" y="2025"/>
                    <a:pt x="2971" y="2083"/>
                    <a:pt x="3019" y="2083"/>
                  </a:cubicBezTo>
                  <a:moveTo>
                    <a:pt x="3257" y="1790"/>
                  </a:moveTo>
                  <a:cubicBezTo>
                    <a:pt x="3327" y="1790"/>
                    <a:pt x="3327" y="1790"/>
                    <a:pt x="3327" y="1790"/>
                  </a:cubicBezTo>
                  <a:cubicBezTo>
                    <a:pt x="3298" y="1927"/>
                    <a:pt x="3298" y="1927"/>
                    <a:pt x="3298" y="1927"/>
                  </a:cubicBezTo>
                  <a:cubicBezTo>
                    <a:pt x="3309" y="1915"/>
                    <a:pt x="3332" y="1890"/>
                    <a:pt x="3376" y="1890"/>
                  </a:cubicBezTo>
                  <a:cubicBezTo>
                    <a:pt x="3412" y="1890"/>
                    <a:pt x="3431" y="1908"/>
                    <a:pt x="3440" y="1923"/>
                  </a:cubicBezTo>
                  <a:cubicBezTo>
                    <a:pt x="3446" y="1935"/>
                    <a:pt x="3448" y="1957"/>
                    <a:pt x="3441" y="1989"/>
                  </a:cubicBezTo>
                  <a:cubicBezTo>
                    <a:pt x="3410" y="2136"/>
                    <a:pt x="3410" y="2136"/>
                    <a:pt x="3410" y="2136"/>
                  </a:cubicBezTo>
                  <a:cubicBezTo>
                    <a:pt x="3340" y="2136"/>
                    <a:pt x="3340" y="2136"/>
                    <a:pt x="3340" y="2136"/>
                  </a:cubicBezTo>
                  <a:cubicBezTo>
                    <a:pt x="3370" y="1991"/>
                    <a:pt x="3370" y="1991"/>
                    <a:pt x="3370" y="1991"/>
                  </a:cubicBezTo>
                  <a:cubicBezTo>
                    <a:pt x="3373" y="1977"/>
                    <a:pt x="3382" y="1938"/>
                    <a:pt x="3342" y="1938"/>
                  </a:cubicBezTo>
                  <a:cubicBezTo>
                    <a:pt x="3322" y="1938"/>
                    <a:pt x="3293" y="1950"/>
                    <a:pt x="3286" y="1988"/>
                  </a:cubicBezTo>
                  <a:cubicBezTo>
                    <a:pt x="3255" y="2136"/>
                    <a:pt x="3255" y="2136"/>
                    <a:pt x="3255" y="2136"/>
                  </a:cubicBezTo>
                  <a:cubicBezTo>
                    <a:pt x="3183" y="2136"/>
                    <a:pt x="3183" y="2136"/>
                    <a:pt x="3183" y="2136"/>
                  </a:cubicBezTo>
                  <a:lnTo>
                    <a:pt x="3257" y="1790"/>
                  </a:lnTo>
                  <a:close/>
                  <a:moveTo>
                    <a:pt x="158" y="1980"/>
                  </a:moveTo>
                  <a:cubicBezTo>
                    <a:pt x="159" y="1971"/>
                    <a:pt x="164" y="1935"/>
                    <a:pt x="137" y="1935"/>
                  </a:cubicBezTo>
                  <a:cubicBezTo>
                    <a:pt x="103" y="1935"/>
                    <a:pt x="89" y="1986"/>
                    <a:pt x="83" y="2012"/>
                  </a:cubicBezTo>
                  <a:cubicBezTo>
                    <a:pt x="80" y="2026"/>
                    <a:pt x="72" y="2069"/>
                    <a:pt x="85" y="2087"/>
                  </a:cubicBezTo>
                  <a:cubicBezTo>
                    <a:pt x="90" y="2094"/>
                    <a:pt x="97" y="2095"/>
                    <a:pt x="102" y="2095"/>
                  </a:cubicBezTo>
                  <a:cubicBezTo>
                    <a:pt x="109" y="2095"/>
                    <a:pt x="133" y="2092"/>
                    <a:pt x="145" y="2048"/>
                  </a:cubicBezTo>
                  <a:cubicBezTo>
                    <a:pt x="215" y="2048"/>
                    <a:pt x="215" y="2048"/>
                    <a:pt x="215" y="2048"/>
                  </a:cubicBezTo>
                  <a:cubicBezTo>
                    <a:pt x="210" y="2067"/>
                    <a:pt x="201" y="2097"/>
                    <a:pt x="168" y="2120"/>
                  </a:cubicBezTo>
                  <a:cubicBezTo>
                    <a:pt x="148" y="2135"/>
                    <a:pt x="124" y="2143"/>
                    <a:pt x="94" y="2143"/>
                  </a:cubicBezTo>
                  <a:cubicBezTo>
                    <a:pt x="62" y="2143"/>
                    <a:pt x="35" y="2135"/>
                    <a:pt x="18" y="2110"/>
                  </a:cubicBezTo>
                  <a:cubicBezTo>
                    <a:pt x="2" y="2086"/>
                    <a:pt x="0" y="2053"/>
                    <a:pt x="8" y="2015"/>
                  </a:cubicBezTo>
                  <a:cubicBezTo>
                    <a:pt x="32" y="1904"/>
                    <a:pt x="116" y="1889"/>
                    <a:pt x="148" y="1889"/>
                  </a:cubicBezTo>
                  <a:cubicBezTo>
                    <a:pt x="193" y="1889"/>
                    <a:pt x="241" y="1914"/>
                    <a:pt x="228" y="1980"/>
                  </a:cubicBezTo>
                  <a:lnTo>
                    <a:pt x="158" y="1980"/>
                  </a:lnTo>
                  <a:close/>
                  <a:moveTo>
                    <a:pt x="3764" y="1980"/>
                  </a:moveTo>
                  <a:cubicBezTo>
                    <a:pt x="3765" y="1971"/>
                    <a:pt x="3770" y="1935"/>
                    <a:pt x="3742" y="1935"/>
                  </a:cubicBezTo>
                  <a:cubicBezTo>
                    <a:pt x="3709" y="1935"/>
                    <a:pt x="3694" y="1986"/>
                    <a:pt x="3688" y="2012"/>
                  </a:cubicBezTo>
                  <a:cubicBezTo>
                    <a:pt x="3685" y="2026"/>
                    <a:pt x="3678" y="2069"/>
                    <a:pt x="3691" y="2087"/>
                  </a:cubicBezTo>
                  <a:cubicBezTo>
                    <a:pt x="3695" y="2094"/>
                    <a:pt x="3703" y="2095"/>
                    <a:pt x="3708" y="2095"/>
                  </a:cubicBezTo>
                  <a:cubicBezTo>
                    <a:pt x="3715" y="2095"/>
                    <a:pt x="3738" y="2092"/>
                    <a:pt x="3751" y="2048"/>
                  </a:cubicBezTo>
                  <a:cubicBezTo>
                    <a:pt x="3820" y="2048"/>
                    <a:pt x="3820" y="2048"/>
                    <a:pt x="3820" y="2048"/>
                  </a:cubicBezTo>
                  <a:cubicBezTo>
                    <a:pt x="3816" y="2067"/>
                    <a:pt x="3807" y="2097"/>
                    <a:pt x="3774" y="2120"/>
                  </a:cubicBezTo>
                  <a:cubicBezTo>
                    <a:pt x="3754" y="2135"/>
                    <a:pt x="3730" y="2143"/>
                    <a:pt x="3700" y="2143"/>
                  </a:cubicBezTo>
                  <a:cubicBezTo>
                    <a:pt x="3668" y="2143"/>
                    <a:pt x="3641" y="2135"/>
                    <a:pt x="3624" y="2110"/>
                  </a:cubicBezTo>
                  <a:cubicBezTo>
                    <a:pt x="3608" y="2086"/>
                    <a:pt x="3606" y="2053"/>
                    <a:pt x="3614" y="2015"/>
                  </a:cubicBezTo>
                  <a:cubicBezTo>
                    <a:pt x="3638" y="1904"/>
                    <a:pt x="3722" y="1889"/>
                    <a:pt x="3754" y="1889"/>
                  </a:cubicBezTo>
                  <a:cubicBezTo>
                    <a:pt x="3799" y="1889"/>
                    <a:pt x="3847" y="1914"/>
                    <a:pt x="3834" y="1980"/>
                  </a:cubicBezTo>
                  <a:lnTo>
                    <a:pt x="3764" y="1980"/>
                  </a:lnTo>
                  <a:close/>
                  <a:moveTo>
                    <a:pt x="4010" y="1888"/>
                  </a:moveTo>
                  <a:cubicBezTo>
                    <a:pt x="4098" y="1888"/>
                    <a:pt x="4123" y="1948"/>
                    <a:pt x="4109" y="2015"/>
                  </a:cubicBezTo>
                  <a:cubicBezTo>
                    <a:pt x="4094" y="2083"/>
                    <a:pt x="4042" y="2145"/>
                    <a:pt x="3954" y="2145"/>
                  </a:cubicBezTo>
                  <a:cubicBezTo>
                    <a:pt x="3884" y="2145"/>
                    <a:pt x="3839" y="2102"/>
                    <a:pt x="3857" y="2017"/>
                  </a:cubicBezTo>
                  <a:cubicBezTo>
                    <a:pt x="3870" y="1959"/>
                    <a:pt x="3914" y="1888"/>
                    <a:pt x="4010" y="1888"/>
                  </a:cubicBezTo>
                  <a:moveTo>
                    <a:pt x="3967" y="2095"/>
                  </a:moveTo>
                  <a:cubicBezTo>
                    <a:pt x="3998" y="2095"/>
                    <a:pt x="4023" y="2077"/>
                    <a:pt x="4037" y="2012"/>
                  </a:cubicBezTo>
                  <a:cubicBezTo>
                    <a:pt x="4044" y="1980"/>
                    <a:pt x="4047" y="1935"/>
                    <a:pt x="4000" y="1935"/>
                  </a:cubicBezTo>
                  <a:cubicBezTo>
                    <a:pt x="3948" y="1935"/>
                    <a:pt x="3935" y="1995"/>
                    <a:pt x="3930" y="2018"/>
                  </a:cubicBezTo>
                  <a:cubicBezTo>
                    <a:pt x="3918" y="2072"/>
                    <a:pt x="3932" y="2095"/>
                    <a:pt x="3967" y="2095"/>
                  </a:cubicBezTo>
                  <a:moveTo>
                    <a:pt x="4173" y="1939"/>
                  </a:moveTo>
                  <a:cubicBezTo>
                    <a:pt x="4176" y="1924"/>
                    <a:pt x="4178" y="1909"/>
                    <a:pt x="4180" y="1894"/>
                  </a:cubicBezTo>
                  <a:cubicBezTo>
                    <a:pt x="4248" y="1894"/>
                    <a:pt x="4248" y="1894"/>
                    <a:pt x="4248" y="1894"/>
                  </a:cubicBezTo>
                  <a:cubicBezTo>
                    <a:pt x="4245" y="1925"/>
                    <a:pt x="4245" y="1925"/>
                    <a:pt x="4245" y="1925"/>
                  </a:cubicBezTo>
                  <a:cubicBezTo>
                    <a:pt x="4254" y="1915"/>
                    <a:pt x="4279" y="1889"/>
                    <a:pt x="4327" y="1889"/>
                  </a:cubicBezTo>
                  <a:cubicBezTo>
                    <a:pt x="4383" y="1889"/>
                    <a:pt x="4392" y="1923"/>
                    <a:pt x="4394" y="1934"/>
                  </a:cubicBezTo>
                  <a:cubicBezTo>
                    <a:pt x="4423" y="1895"/>
                    <a:pt x="4456" y="1889"/>
                    <a:pt x="4481" y="1889"/>
                  </a:cubicBezTo>
                  <a:cubicBezTo>
                    <a:pt x="4530" y="1889"/>
                    <a:pt x="4544" y="1918"/>
                    <a:pt x="4547" y="1928"/>
                  </a:cubicBezTo>
                  <a:cubicBezTo>
                    <a:pt x="4555" y="1949"/>
                    <a:pt x="4548" y="1978"/>
                    <a:pt x="4544" y="1999"/>
                  </a:cubicBezTo>
                  <a:cubicBezTo>
                    <a:pt x="4515" y="2136"/>
                    <a:pt x="4515" y="2136"/>
                    <a:pt x="4515" y="2136"/>
                  </a:cubicBezTo>
                  <a:cubicBezTo>
                    <a:pt x="4443" y="2136"/>
                    <a:pt x="4443" y="2136"/>
                    <a:pt x="4443" y="2136"/>
                  </a:cubicBezTo>
                  <a:cubicBezTo>
                    <a:pt x="4473" y="1994"/>
                    <a:pt x="4473" y="1994"/>
                    <a:pt x="4473" y="1994"/>
                  </a:cubicBezTo>
                  <a:cubicBezTo>
                    <a:pt x="4479" y="1968"/>
                    <a:pt x="4481" y="1939"/>
                    <a:pt x="4444" y="1939"/>
                  </a:cubicBezTo>
                  <a:cubicBezTo>
                    <a:pt x="4401" y="1939"/>
                    <a:pt x="4392" y="1979"/>
                    <a:pt x="4385" y="2015"/>
                  </a:cubicBezTo>
                  <a:cubicBezTo>
                    <a:pt x="4358" y="2136"/>
                    <a:pt x="4358" y="2136"/>
                    <a:pt x="4358" y="2136"/>
                  </a:cubicBezTo>
                  <a:cubicBezTo>
                    <a:pt x="4286" y="2136"/>
                    <a:pt x="4286" y="2136"/>
                    <a:pt x="4286" y="2136"/>
                  </a:cubicBezTo>
                  <a:cubicBezTo>
                    <a:pt x="4318" y="1992"/>
                    <a:pt x="4318" y="1992"/>
                    <a:pt x="4318" y="1992"/>
                  </a:cubicBezTo>
                  <a:cubicBezTo>
                    <a:pt x="4321" y="1974"/>
                    <a:pt x="4328" y="1939"/>
                    <a:pt x="4289" y="1939"/>
                  </a:cubicBezTo>
                  <a:cubicBezTo>
                    <a:pt x="4244" y="1939"/>
                    <a:pt x="4236" y="1977"/>
                    <a:pt x="4232" y="1994"/>
                  </a:cubicBezTo>
                  <a:cubicBezTo>
                    <a:pt x="4202" y="2136"/>
                    <a:pt x="4202" y="2136"/>
                    <a:pt x="4202" y="2136"/>
                  </a:cubicBezTo>
                  <a:cubicBezTo>
                    <a:pt x="4131" y="2136"/>
                    <a:pt x="4131" y="2136"/>
                    <a:pt x="4131" y="2136"/>
                  </a:cubicBezTo>
                  <a:lnTo>
                    <a:pt x="4173" y="1939"/>
                  </a:lnTo>
                  <a:close/>
                  <a:moveTo>
                    <a:pt x="4694" y="1894"/>
                  </a:moveTo>
                  <a:cubicBezTo>
                    <a:pt x="4689" y="1928"/>
                    <a:pt x="4689" y="1928"/>
                    <a:pt x="4689" y="1928"/>
                  </a:cubicBezTo>
                  <a:cubicBezTo>
                    <a:pt x="4719" y="1889"/>
                    <a:pt x="4759" y="1889"/>
                    <a:pt x="4771" y="1889"/>
                  </a:cubicBezTo>
                  <a:cubicBezTo>
                    <a:pt x="4834" y="1889"/>
                    <a:pt x="4862" y="1936"/>
                    <a:pt x="4846" y="2010"/>
                  </a:cubicBezTo>
                  <a:cubicBezTo>
                    <a:pt x="4832" y="2079"/>
                    <a:pt x="4783" y="2140"/>
                    <a:pt x="4713" y="2140"/>
                  </a:cubicBezTo>
                  <a:cubicBezTo>
                    <a:pt x="4669" y="2140"/>
                    <a:pt x="4656" y="2117"/>
                    <a:pt x="4652" y="2109"/>
                  </a:cubicBezTo>
                  <a:cubicBezTo>
                    <a:pt x="4626" y="2229"/>
                    <a:pt x="4626" y="2229"/>
                    <a:pt x="4626" y="2229"/>
                  </a:cubicBezTo>
                  <a:cubicBezTo>
                    <a:pt x="4554" y="2229"/>
                    <a:pt x="4554" y="2229"/>
                    <a:pt x="4554" y="2229"/>
                  </a:cubicBezTo>
                  <a:cubicBezTo>
                    <a:pt x="4625" y="1894"/>
                    <a:pt x="4625" y="1894"/>
                    <a:pt x="4625" y="1894"/>
                  </a:cubicBezTo>
                  <a:lnTo>
                    <a:pt x="4694" y="1894"/>
                  </a:lnTo>
                  <a:close/>
                  <a:moveTo>
                    <a:pt x="4774" y="2013"/>
                  </a:moveTo>
                  <a:cubicBezTo>
                    <a:pt x="4780" y="1984"/>
                    <a:pt x="4783" y="1935"/>
                    <a:pt x="4741" y="1935"/>
                  </a:cubicBezTo>
                  <a:cubicBezTo>
                    <a:pt x="4718" y="1935"/>
                    <a:pt x="4682" y="1952"/>
                    <a:pt x="4668" y="2017"/>
                  </a:cubicBezTo>
                  <a:cubicBezTo>
                    <a:pt x="4665" y="2031"/>
                    <a:pt x="4652" y="2093"/>
                    <a:pt x="4705" y="2093"/>
                  </a:cubicBezTo>
                  <a:cubicBezTo>
                    <a:pt x="4738" y="2093"/>
                    <a:pt x="4763" y="2061"/>
                    <a:pt x="4774" y="2013"/>
                  </a:cubicBezTo>
                  <a:moveTo>
                    <a:pt x="4936" y="1789"/>
                  </a:moveTo>
                  <a:cubicBezTo>
                    <a:pt x="5007" y="1789"/>
                    <a:pt x="5007" y="1789"/>
                    <a:pt x="5007" y="1789"/>
                  </a:cubicBezTo>
                  <a:cubicBezTo>
                    <a:pt x="4933" y="2136"/>
                    <a:pt x="4933" y="2136"/>
                    <a:pt x="4933" y="2136"/>
                  </a:cubicBezTo>
                  <a:cubicBezTo>
                    <a:pt x="4862" y="2136"/>
                    <a:pt x="4862" y="2136"/>
                    <a:pt x="4862" y="2136"/>
                  </a:cubicBezTo>
                  <a:lnTo>
                    <a:pt x="4936" y="1789"/>
                  </a:lnTo>
                  <a:close/>
                  <a:moveTo>
                    <a:pt x="5068" y="2033"/>
                  </a:moveTo>
                  <a:cubicBezTo>
                    <a:pt x="5064" y="2049"/>
                    <a:pt x="5054" y="2098"/>
                    <a:pt x="5104" y="2098"/>
                  </a:cubicBezTo>
                  <a:cubicBezTo>
                    <a:pt x="5121" y="2098"/>
                    <a:pt x="5140" y="2091"/>
                    <a:pt x="5153" y="2064"/>
                  </a:cubicBezTo>
                  <a:cubicBezTo>
                    <a:pt x="5218" y="2064"/>
                    <a:pt x="5218" y="2064"/>
                    <a:pt x="5218" y="2064"/>
                  </a:cubicBezTo>
                  <a:cubicBezTo>
                    <a:pt x="5214" y="2076"/>
                    <a:pt x="5208" y="2097"/>
                    <a:pt x="5184" y="2117"/>
                  </a:cubicBezTo>
                  <a:cubicBezTo>
                    <a:pt x="5162" y="2136"/>
                    <a:pt x="5128" y="2145"/>
                    <a:pt x="5092" y="2145"/>
                  </a:cubicBezTo>
                  <a:cubicBezTo>
                    <a:pt x="5072" y="2145"/>
                    <a:pt x="5033" y="2142"/>
                    <a:pt x="5013" y="2115"/>
                  </a:cubicBezTo>
                  <a:cubicBezTo>
                    <a:pt x="4996" y="2092"/>
                    <a:pt x="4994" y="2060"/>
                    <a:pt x="5002" y="2021"/>
                  </a:cubicBezTo>
                  <a:cubicBezTo>
                    <a:pt x="5011" y="1981"/>
                    <a:pt x="5030" y="1934"/>
                    <a:pt x="5077" y="1906"/>
                  </a:cubicBezTo>
                  <a:cubicBezTo>
                    <a:pt x="5099" y="1893"/>
                    <a:pt x="5123" y="1886"/>
                    <a:pt x="5150" y="1886"/>
                  </a:cubicBezTo>
                  <a:cubicBezTo>
                    <a:pt x="5184" y="1886"/>
                    <a:pt x="5222" y="1899"/>
                    <a:pt x="5235" y="1944"/>
                  </a:cubicBezTo>
                  <a:cubicBezTo>
                    <a:pt x="5244" y="1977"/>
                    <a:pt x="5236" y="2013"/>
                    <a:pt x="5231" y="2033"/>
                  </a:cubicBezTo>
                  <a:lnTo>
                    <a:pt x="5068" y="2033"/>
                  </a:lnTo>
                  <a:close/>
                  <a:moveTo>
                    <a:pt x="5167" y="1988"/>
                  </a:moveTo>
                  <a:cubicBezTo>
                    <a:pt x="5170" y="1977"/>
                    <a:pt x="5178" y="1934"/>
                    <a:pt x="5137" y="1934"/>
                  </a:cubicBezTo>
                  <a:cubicBezTo>
                    <a:pt x="5105" y="1934"/>
                    <a:pt x="5087" y="1960"/>
                    <a:pt x="5080" y="1988"/>
                  </a:cubicBezTo>
                  <a:lnTo>
                    <a:pt x="5167" y="1988"/>
                  </a:lnTo>
                  <a:close/>
                  <a:moveTo>
                    <a:pt x="5353" y="1894"/>
                  </a:moveTo>
                  <a:cubicBezTo>
                    <a:pt x="5382" y="1973"/>
                    <a:pt x="5382" y="1973"/>
                    <a:pt x="5382" y="1973"/>
                  </a:cubicBezTo>
                  <a:cubicBezTo>
                    <a:pt x="5447" y="1894"/>
                    <a:pt x="5447" y="1894"/>
                    <a:pt x="5447" y="1894"/>
                  </a:cubicBezTo>
                  <a:cubicBezTo>
                    <a:pt x="5520" y="1894"/>
                    <a:pt x="5520" y="1894"/>
                    <a:pt x="5520" y="1894"/>
                  </a:cubicBezTo>
                  <a:cubicBezTo>
                    <a:pt x="5417" y="2012"/>
                    <a:pt x="5417" y="2012"/>
                    <a:pt x="5417" y="2012"/>
                  </a:cubicBezTo>
                  <a:cubicBezTo>
                    <a:pt x="5471" y="2136"/>
                    <a:pt x="5471" y="2136"/>
                    <a:pt x="5471" y="2136"/>
                  </a:cubicBezTo>
                  <a:cubicBezTo>
                    <a:pt x="5388" y="2136"/>
                    <a:pt x="5388" y="2136"/>
                    <a:pt x="5388" y="2136"/>
                  </a:cubicBezTo>
                  <a:cubicBezTo>
                    <a:pt x="5357" y="2047"/>
                    <a:pt x="5357" y="2047"/>
                    <a:pt x="5357" y="2047"/>
                  </a:cubicBezTo>
                  <a:cubicBezTo>
                    <a:pt x="5289" y="2136"/>
                    <a:pt x="5289" y="2136"/>
                    <a:pt x="5289" y="2136"/>
                  </a:cubicBezTo>
                  <a:cubicBezTo>
                    <a:pt x="5214" y="2136"/>
                    <a:pt x="5214" y="2136"/>
                    <a:pt x="5214" y="2136"/>
                  </a:cubicBezTo>
                  <a:cubicBezTo>
                    <a:pt x="5323" y="2006"/>
                    <a:pt x="5323" y="2006"/>
                    <a:pt x="5323" y="2006"/>
                  </a:cubicBezTo>
                  <a:cubicBezTo>
                    <a:pt x="5269" y="1894"/>
                    <a:pt x="5269" y="1894"/>
                    <a:pt x="5269" y="1894"/>
                  </a:cubicBezTo>
                  <a:lnTo>
                    <a:pt x="5353" y="1894"/>
                  </a:lnTo>
                  <a:close/>
                  <a:moveTo>
                    <a:pt x="5553" y="1893"/>
                  </a:moveTo>
                  <a:cubicBezTo>
                    <a:pt x="5625" y="1893"/>
                    <a:pt x="5625" y="1893"/>
                    <a:pt x="5625" y="1893"/>
                  </a:cubicBezTo>
                  <a:cubicBezTo>
                    <a:pt x="5573" y="2136"/>
                    <a:pt x="5573" y="2136"/>
                    <a:pt x="5573" y="2136"/>
                  </a:cubicBezTo>
                  <a:cubicBezTo>
                    <a:pt x="5501" y="2136"/>
                    <a:pt x="5501" y="2136"/>
                    <a:pt x="5501" y="2136"/>
                  </a:cubicBezTo>
                  <a:lnTo>
                    <a:pt x="5553" y="1893"/>
                  </a:lnTo>
                  <a:close/>
                  <a:moveTo>
                    <a:pt x="5573" y="1790"/>
                  </a:moveTo>
                  <a:cubicBezTo>
                    <a:pt x="5648" y="1790"/>
                    <a:pt x="5648" y="1790"/>
                    <a:pt x="5648" y="1790"/>
                  </a:cubicBezTo>
                  <a:cubicBezTo>
                    <a:pt x="5636" y="1851"/>
                    <a:pt x="5636" y="1851"/>
                    <a:pt x="5636" y="1851"/>
                  </a:cubicBezTo>
                  <a:cubicBezTo>
                    <a:pt x="5560" y="1851"/>
                    <a:pt x="5560" y="1851"/>
                    <a:pt x="5560" y="1851"/>
                  </a:cubicBezTo>
                  <a:lnTo>
                    <a:pt x="5573" y="1790"/>
                  </a:lnTo>
                  <a:close/>
                  <a:moveTo>
                    <a:pt x="5775" y="2133"/>
                  </a:moveTo>
                  <a:cubicBezTo>
                    <a:pt x="5752" y="2139"/>
                    <a:pt x="5730" y="2141"/>
                    <a:pt x="5719" y="2141"/>
                  </a:cubicBezTo>
                  <a:cubicBezTo>
                    <a:pt x="5647" y="2141"/>
                    <a:pt x="5657" y="2095"/>
                    <a:pt x="5662" y="2075"/>
                  </a:cubicBezTo>
                  <a:cubicBezTo>
                    <a:pt x="5689" y="1942"/>
                    <a:pt x="5689" y="1942"/>
                    <a:pt x="5689" y="1942"/>
                  </a:cubicBezTo>
                  <a:cubicBezTo>
                    <a:pt x="5643" y="1942"/>
                    <a:pt x="5643" y="1942"/>
                    <a:pt x="5643" y="1942"/>
                  </a:cubicBezTo>
                  <a:cubicBezTo>
                    <a:pt x="5653" y="1895"/>
                    <a:pt x="5653" y="1895"/>
                    <a:pt x="5653" y="1895"/>
                  </a:cubicBezTo>
                  <a:cubicBezTo>
                    <a:pt x="5700" y="1895"/>
                    <a:pt x="5700" y="1895"/>
                    <a:pt x="5700" y="1895"/>
                  </a:cubicBezTo>
                  <a:cubicBezTo>
                    <a:pt x="5710" y="1848"/>
                    <a:pt x="5710" y="1848"/>
                    <a:pt x="5710" y="1848"/>
                  </a:cubicBezTo>
                  <a:cubicBezTo>
                    <a:pt x="5786" y="1822"/>
                    <a:pt x="5786" y="1822"/>
                    <a:pt x="5786" y="1822"/>
                  </a:cubicBezTo>
                  <a:cubicBezTo>
                    <a:pt x="5770" y="1895"/>
                    <a:pt x="5770" y="1895"/>
                    <a:pt x="5770" y="1895"/>
                  </a:cubicBezTo>
                  <a:cubicBezTo>
                    <a:pt x="5828" y="1895"/>
                    <a:pt x="5828" y="1895"/>
                    <a:pt x="5828" y="1895"/>
                  </a:cubicBezTo>
                  <a:cubicBezTo>
                    <a:pt x="5818" y="1942"/>
                    <a:pt x="5818" y="1942"/>
                    <a:pt x="5818" y="1942"/>
                  </a:cubicBezTo>
                  <a:cubicBezTo>
                    <a:pt x="5760" y="1942"/>
                    <a:pt x="5760" y="1942"/>
                    <a:pt x="5760" y="1942"/>
                  </a:cubicBezTo>
                  <a:cubicBezTo>
                    <a:pt x="5736" y="2052"/>
                    <a:pt x="5736" y="2052"/>
                    <a:pt x="5736" y="2052"/>
                  </a:cubicBezTo>
                  <a:cubicBezTo>
                    <a:pt x="5733" y="2074"/>
                    <a:pt x="5729" y="2088"/>
                    <a:pt x="5761" y="2088"/>
                  </a:cubicBezTo>
                  <a:cubicBezTo>
                    <a:pt x="5772" y="2088"/>
                    <a:pt x="5777" y="2087"/>
                    <a:pt x="5786" y="2086"/>
                  </a:cubicBezTo>
                  <a:lnTo>
                    <a:pt x="5775" y="2133"/>
                  </a:lnTo>
                  <a:close/>
                  <a:moveTo>
                    <a:pt x="5921" y="1894"/>
                  </a:moveTo>
                  <a:cubicBezTo>
                    <a:pt x="5939" y="2062"/>
                    <a:pt x="5939" y="2062"/>
                    <a:pt x="5939" y="2062"/>
                  </a:cubicBezTo>
                  <a:cubicBezTo>
                    <a:pt x="6028" y="1894"/>
                    <a:pt x="6028" y="1894"/>
                    <a:pt x="6028" y="1894"/>
                  </a:cubicBezTo>
                  <a:cubicBezTo>
                    <a:pt x="6099" y="1894"/>
                    <a:pt x="6099" y="1894"/>
                    <a:pt x="6099" y="1894"/>
                  </a:cubicBezTo>
                  <a:cubicBezTo>
                    <a:pt x="5957" y="2132"/>
                    <a:pt x="5957" y="2132"/>
                    <a:pt x="5957" y="2132"/>
                  </a:cubicBezTo>
                  <a:cubicBezTo>
                    <a:pt x="5907" y="2229"/>
                    <a:pt x="5907" y="2229"/>
                    <a:pt x="5907" y="2229"/>
                  </a:cubicBezTo>
                  <a:cubicBezTo>
                    <a:pt x="5835" y="2229"/>
                    <a:pt x="5835" y="2229"/>
                    <a:pt x="5835" y="2229"/>
                  </a:cubicBezTo>
                  <a:cubicBezTo>
                    <a:pt x="5886" y="2137"/>
                    <a:pt x="5886" y="2137"/>
                    <a:pt x="5886" y="2137"/>
                  </a:cubicBezTo>
                  <a:cubicBezTo>
                    <a:pt x="5844" y="1894"/>
                    <a:pt x="5844" y="1894"/>
                    <a:pt x="5844" y="1894"/>
                  </a:cubicBezTo>
                  <a:lnTo>
                    <a:pt x="5921" y="1894"/>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noAutofit/>
            </a:bodyPr>
            <a:lstStyle/>
            <a:p>
              <a:pPr algn="ctr" defTabSz="685783"/>
              <a:endParaRPr lang="en-GB">
                <a:solidFill>
                  <a:srgbClr val="000000"/>
                </a:solidFill>
                <a:cs typeface="Arial" charset="0"/>
              </a:endParaRPr>
            </a:p>
          </p:txBody>
        </p:sp>
        <p:sp>
          <p:nvSpPr>
            <p:cNvPr id="14" name="Freeform 15"/>
            <p:cNvSpPr>
              <a:spLocks noChangeAspect="1" noEditPoints="1"/>
            </p:cNvSpPr>
            <p:nvPr userDrawn="1"/>
          </p:nvSpPr>
          <p:spPr bwMode="hidden">
            <a:xfrm>
              <a:off x="128464" y="1"/>
              <a:ext cx="2160000" cy="1275101"/>
            </a:xfrm>
            <a:custGeom>
              <a:avLst/>
              <a:gdLst/>
              <a:ahLst/>
              <a:cxnLst>
                <a:cxn ang="0">
                  <a:pos x="176" y="248"/>
                </a:cxn>
                <a:cxn ang="0">
                  <a:pos x="0" y="248"/>
                </a:cxn>
                <a:cxn ang="0">
                  <a:pos x="0" y="0"/>
                </a:cxn>
                <a:cxn ang="0">
                  <a:pos x="176" y="0"/>
                </a:cxn>
                <a:cxn ang="0">
                  <a:pos x="176" y="248"/>
                </a:cxn>
                <a:cxn ang="0">
                  <a:pos x="176" y="716"/>
                </a:cxn>
                <a:cxn ang="0">
                  <a:pos x="0" y="716"/>
                </a:cxn>
                <a:cxn ang="0">
                  <a:pos x="0" y="964"/>
                </a:cxn>
                <a:cxn ang="0">
                  <a:pos x="176" y="964"/>
                </a:cxn>
                <a:cxn ang="0">
                  <a:pos x="176" y="716"/>
                </a:cxn>
                <a:cxn ang="0">
                  <a:pos x="1633" y="0"/>
                </a:cxn>
                <a:cxn ang="0">
                  <a:pos x="1457" y="0"/>
                </a:cxn>
                <a:cxn ang="0">
                  <a:pos x="1457" y="248"/>
                </a:cxn>
                <a:cxn ang="0">
                  <a:pos x="1633" y="248"/>
                </a:cxn>
                <a:cxn ang="0">
                  <a:pos x="1633" y="0"/>
                </a:cxn>
                <a:cxn ang="0">
                  <a:pos x="1633" y="716"/>
                </a:cxn>
                <a:cxn ang="0">
                  <a:pos x="1457" y="716"/>
                </a:cxn>
                <a:cxn ang="0">
                  <a:pos x="1457" y="964"/>
                </a:cxn>
                <a:cxn ang="0">
                  <a:pos x="1633" y="964"/>
                </a:cxn>
                <a:cxn ang="0">
                  <a:pos x="1633" y="716"/>
                </a:cxn>
              </a:cxnLst>
              <a:rect l="0" t="0" r="r" b="b"/>
              <a:pathLst>
                <a:path w="1633" h="964">
                  <a:moveTo>
                    <a:pt x="176" y="248"/>
                  </a:moveTo>
                  <a:lnTo>
                    <a:pt x="0" y="248"/>
                  </a:lnTo>
                  <a:lnTo>
                    <a:pt x="0" y="0"/>
                  </a:lnTo>
                  <a:lnTo>
                    <a:pt x="176" y="0"/>
                  </a:lnTo>
                  <a:lnTo>
                    <a:pt x="176" y="248"/>
                  </a:lnTo>
                  <a:close/>
                  <a:moveTo>
                    <a:pt x="176" y="716"/>
                  </a:moveTo>
                  <a:lnTo>
                    <a:pt x="0" y="716"/>
                  </a:lnTo>
                  <a:lnTo>
                    <a:pt x="0" y="964"/>
                  </a:lnTo>
                  <a:lnTo>
                    <a:pt x="176" y="964"/>
                  </a:lnTo>
                  <a:lnTo>
                    <a:pt x="176" y="716"/>
                  </a:lnTo>
                  <a:close/>
                  <a:moveTo>
                    <a:pt x="1633" y="0"/>
                  </a:moveTo>
                  <a:lnTo>
                    <a:pt x="1457" y="0"/>
                  </a:lnTo>
                  <a:lnTo>
                    <a:pt x="1457" y="248"/>
                  </a:lnTo>
                  <a:lnTo>
                    <a:pt x="1633" y="248"/>
                  </a:lnTo>
                  <a:lnTo>
                    <a:pt x="1633" y="0"/>
                  </a:lnTo>
                  <a:close/>
                  <a:moveTo>
                    <a:pt x="1633" y="716"/>
                  </a:moveTo>
                  <a:lnTo>
                    <a:pt x="1457" y="716"/>
                  </a:lnTo>
                  <a:lnTo>
                    <a:pt x="1457" y="964"/>
                  </a:lnTo>
                  <a:lnTo>
                    <a:pt x="1633" y="964"/>
                  </a:lnTo>
                  <a:lnTo>
                    <a:pt x="1633" y="716"/>
                  </a:lnTo>
                  <a:close/>
                </a:path>
              </a:pathLst>
            </a:custGeom>
            <a:noFill/>
            <a:ln w="9525">
              <a:noFill/>
              <a:round/>
              <a:headEnd/>
              <a:tailEnd/>
            </a:ln>
          </p:spPr>
          <p:txBody>
            <a:bodyPr vert="horz" wrap="square" lIns="91440" tIns="45720" rIns="91440" bIns="45720" numCol="1" anchor="t" anchorCtr="0" compatLnSpc="1">
              <a:prstTxWarp prst="textNoShape">
                <a:avLst/>
              </a:prstTxWarp>
              <a:noAutofit/>
            </a:bodyPr>
            <a:lstStyle/>
            <a:p>
              <a:pPr algn="ctr" defTabSz="685783"/>
              <a:endParaRPr lang="en-GB" dirty="0">
                <a:solidFill>
                  <a:srgbClr val="000000"/>
                </a:solidFill>
                <a:cs typeface="Arial" charset="0"/>
              </a:endParaRPr>
            </a:p>
          </p:txBody>
        </p:sp>
      </p:grpSp>
    </p:spTree>
    <p:extLst>
      <p:ext uri="{BB962C8B-B14F-4D97-AF65-F5344CB8AC3E}">
        <p14:creationId xmlns:p14="http://schemas.microsoft.com/office/powerpoint/2010/main" val="336481436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Title Slide 2">
    <p:bg>
      <p:bgPr>
        <a:solidFill>
          <a:schemeClr val="bg1"/>
        </a:solidFill>
        <a:effectLst/>
      </p:bgPr>
    </p:bg>
    <p:spTree>
      <p:nvGrpSpPr>
        <p:cNvPr id="1" name=""/>
        <p:cNvGrpSpPr/>
        <p:nvPr/>
      </p:nvGrpSpPr>
      <p:grpSpPr>
        <a:xfrm>
          <a:off x="0" y="0"/>
          <a:ext cx="0" cy="0"/>
          <a:chOff x="0" y="0"/>
          <a:chExt cx="0" cy="0"/>
        </a:xfrm>
      </p:grpSpPr>
      <p:pic>
        <p:nvPicPr>
          <p:cNvPr id="8" name="Picture 7" descr="widescreen_cover2.jpg"/>
          <p:cNvPicPr>
            <a:picLocks noChangeAspect="1"/>
          </p:cNvPicPr>
          <p:nvPr userDrawn="1"/>
        </p:nvPicPr>
        <p:blipFill>
          <a:blip r:embed="rId2" cstate="print"/>
          <a:stretch>
            <a:fillRect/>
          </a:stretch>
        </p:blipFill>
        <p:spPr>
          <a:xfrm>
            <a:off x="6764" y="0"/>
            <a:ext cx="9130473" cy="5143500"/>
          </a:xfrm>
          <a:prstGeom prst="rect">
            <a:avLst/>
          </a:prstGeom>
        </p:spPr>
      </p:pic>
      <p:sp>
        <p:nvSpPr>
          <p:cNvPr id="47123" name="Freeform 19"/>
          <p:cNvSpPr>
            <a:spLocks noChangeAspect="1"/>
          </p:cNvSpPr>
          <p:nvPr userDrawn="1"/>
        </p:nvSpPr>
        <p:spPr bwMode="gray">
          <a:xfrm>
            <a:off x="0" y="2"/>
            <a:ext cx="4573588" cy="4011961"/>
          </a:xfrm>
          <a:custGeom>
            <a:avLst/>
            <a:gdLst/>
            <a:ahLst/>
            <a:cxnLst>
              <a:cxn ang="0">
                <a:pos x="0" y="0"/>
              </a:cxn>
              <a:cxn ang="0">
                <a:pos x="0" y="2985"/>
              </a:cxn>
              <a:cxn ang="0">
                <a:pos x="2518" y="2985"/>
              </a:cxn>
              <a:cxn ang="0">
                <a:pos x="3402" y="0"/>
              </a:cxn>
              <a:cxn ang="0">
                <a:pos x="0" y="0"/>
              </a:cxn>
            </a:cxnLst>
            <a:rect l="0" t="0" r="r" b="b"/>
            <a:pathLst>
              <a:path w="3402" h="2985">
                <a:moveTo>
                  <a:pt x="0" y="0"/>
                </a:moveTo>
                <a:lnTo>
                  <a:pt x="0" y="2985"/>
                </a:lnTo>
                <a:lnTo>
                  <a:pt x="2518" y="2985"/>
                </a:lnTo>
                <a:lnTo>
                  <a:pt x="3402" y="0"/>
                </a:lnTo>
                <a:lnTo>
                  <a:pt x="0" y="0"/>
                </a:lnTo>
                <a:close/>
              </a:path>
            </a:pathLst>
          </a:custGeom>
          <a:gradFill rotWithShape="1">
            <a:gsLst>
              <a:gs pos="0">
                <a:srgbClr val="00257A">
                  <a:alpha val="89999"/>
                </a:srgbClr>
              </a:gs>
              <a:gs pos="35001">
                <a:srgbClr val="00338D">
                  <a:alpha val="89999"/>
                </a:srgbClr>
              </a:gs>
              <a:gs pos="100000">
                <a:srgbClr val="009FDA">
                  <a:alpha val="89999"/>
                </a:srgbClr>
              </a:gs>
            </a:gsLst>
            <a:lin ang="0" scaled="1"/>
          </a:gradFill>
          <a:ln w="9525" cap="flat" cmpd="sng">
            <a:noFill/>
            <a:prstDash val="solid"/>
            <a:round/>
            <a:headEnd type="none" w="med" len="med"/>
            <a:tailEnd type="none" w="med" len="med"/>
          </a:ln>
          <a:effectLst/>
        </p:spPr>
        <p:txBody>
          <a:bodyPr lIns="68579" tIns="34289" rIns="68579" bIns="34289">
            <a:noAutofit/>
          </a:bodyPr>
          <a:lstStyle/>
          <a:p>
            <a:pPr algn="ctr" defTabSz="685783"/>
            <a:endParaRPr lang="en-GB">
              <a:solidFill>
                <a:srgbClr val="000000"/>
              </a:solidFill>
              <a:cs typeface="Arial" charset="0"/>
            </a:endParaRPr>
          </a:p>
        </p:txBody>
      </p:sp>
      <p:sp>
        <p:nvSpPr>
          <p:cNvPr id="47106" name="Text Placeholder 50"/>
          <p:cNvSpPr>
            <a:spLocks noGrp="1"/>
          </p:cNvSpPr>
          <p:nvPr>
            <p:ph type="subTitle" idx="1"/>
          </p:nvPr>
        </p:nvSpPr>
        <p:spPr>
          <a:xfrm>
            <a:off x="323852" y="2859794"/>
            <a:ext cx="3095625" cy="863333"/>
          </a:xfrm>
        </p:spPr>
        <p:txBody>
          <a:bodyPr>
            <a:noAutofit/>
          </a:bodyPr>
          <a:lstStyle>
            <a:lvl1pPr>
              <a:defRPr sz="1200" b="0">
                <a:solidFill>
                  <a:schemeClr val="bg1"/>
                </a:solidFill>
                <a:latin typeface="Arial" charset="0"/>
                <a:cs typeface="Arial" charset="0"/>
              </a:defRPr>
            </a:lvl1pPr>
          </a:lstStyle>
          <a:p>
            <a:r>
              <a:rPr lang="en-US"/>
              <a:t>Click to edit Master subtitle style</a:t>
            </a:r>
            <a:endParaRPr dirty="0"/>
          </a:p>
        </p:txBody>
      </p:sp>
      <p:sp>
        <p:nvSpPr>
          <p:cNvPr id="47113" name="Title Placeholder 45"/>
          <p:cNvSpPr>
            <a:spLocks noGrp="1"/>
          </p:cNvSpPr>
          <p:nvPr>
            <p:ph type="ctrTitle"/>
          </p:nvPr>
        </p:nvSpPr>
        <p:spPr>
          <a:xfrm>
            <a:off x="323529" y="1275956"/>
            <a:ext cx="3456310" cy="1368003"/>
          </a:xfrm>
        </p:spPr>
        <p:txBody>
          <a:bodyPr anchor="t">
            <a:noAutofit/>
          </a:bodyPr>
          <a:lstStyle>
            <a:lvl1pPr>
              <a:defRPr sz="3000">
                <a:latin typeface="Arial" charset="0"/>
                <a:cs typeface="Arial" charset="0"/>
              </a:defRPr>
            </a:lvl1pPr>
          </a:lstStyle>
          <a:p>
            <a:r>
              <a:rPr lang="en-US"/>
              <a:t>Click to edit Master title style</a:t>
            </a:r>
            <a:endParaRPr lang="en-US" dirty="0"/>
          </a:p>
        </p:txBody>
      </p:sp>
      <p:grpSp>
        <p:nvGrpSpPr>
          <p:cNvPr id="11" name="Group 10"/>
          <p:cNvGrpSpPr>
            <a:grpSpLocks noChangeAspect="1"/>
          </p:cNvGrpSpPr>
          <p:nvPr userDrawn="1"/>
        </p:nvGrpSpPr>
        <p:grpSpPr>
          <a:xfrm>
            <a:off x="180000" y="1"/>
            <a:ext cx="2049042" cy="1209600"/>
            <a:chOff x="128464" y="1"/>
            <a:chExt cx="2160000" cy="1275101"/>
          </a:xfrm>
        </p:grpSpPr>
        <p:sp>
          <p:nvSpPr>
            <p:cNvPr id="12" name="Freeform 14"/>
            <p:cNvSpPr>
              <a:spLocks noChangeAspect="1" noEditPoints="1"/>
            </p:cNvSpPr>
            <p:nvPr userDrawn="1"/>
          </p:nvSpPr>
          <p:spPr bwMode="white">
            <a:xfrm>
              <a:off x="301741" y="328035"/>
              <a:ext cx="1765830" cy="646810"/>
            </a:xfrm>
            <a:custGeom>
              <a:avLst/>
              <a:gdLst/>
              <a:ahLst/>
              <a:cxnLst>
                <a:cxn ang="0">
                  <a:pos x="2851" y="1035"/>
                </a:cxn>
                <a:cxn ang="0">
                  <a:pos x="3588" y="28"/>
                </a:cxn>
                <a:cxn ang="0">
                  <a:pos x="2718" y="826"/>
                </a:cxn>
                <a:cxn ang="0">
                  <a:pos x="1973" y="28"/>
                </a:cxn>
                <a:cxn ang="0">
                  <a:pos x="1663" y="659"/>
                </a:cxn>
                <a:cxn ang="0">
                  <a:pos x="1850" y="28"/>
                </a:cxn>
                <a:cxn ang="0">
                  <a:pos x="1165" y="1000"/>
                </a:cxn>
                <a:cxn ang="0">
                  <a:pos x="1334" y="806"/>
                </a:cxn>
                <a:cxn ang="0">
                  <a:pos x="479" y="1047"/>
                </a:cxn>
                <a:cxn ang="0">
                  <a:pos x="980" y="699"/>
                </a:cxn>
                <a:cxn ang="0">
                  <a:pos x="2747" y="0"/>
                </a:cxn>
                <a:cxn ang="0">
                  <a:pos x="1009" y="0"/>
                </a:cxn>
                <a:cxn ang="0">
                  <a:pos x="665" y="1435"/>
                </a:cxn>
                <a:cxn ang="0">
                  <a:pos x="1150" y="1133"/>
                </a:cxn>
                <a:cxn ang="0">
                  <a:pos x="1980" y="1434"/>
                </a:cxn>
                <a:cxn ang="0">
                  <a:pos x="2963" y="1451"/>
                </a:cxn>
                <a:cxn ang="0">
                  <a:pos x="348" y="2092"/>
                </a:cxn>
                <a:cxn ang="0">
                  <a:pos x="395" y="2104"/>
                </a:cxn>
                <a:cxn ang="0">
                  <a:pos x="880" y="1895"/>
                </a:cxn>
                <a:cxn ang="0">
                  <a:pos x="584" y="1895"/>
                </a:cxn>
                <a:cxn ang="0">
                  <a:pos x="645" y="2088"/>
                </a:cxn>
                <a:cxn ang="0">
                  <a:pos x="813" y="2088"/>
                </a:cxn>
                <a:cxn ang="0">
                  <a:pos x="935" y="1790"/>
                </a:cxn>
                <a:cxn ang="0">
                  <a:pos x="1104" y="1929"/>
                </a:cxn>
                <a:cxn ang="0">
                  <a:pos x="1151" y="1938"/>
                </a:cxn>
                <a:cxn ang="0">
                  <a:pos x="1504" y="2134"/>
                </a:cxn>
                <a:cxn ang="0">
                  <a:pos x="1370" y="2132"/>
                </a:cxn>
                <a:cxn ang="0">
                  <a:pos x="1428" y="1940"/>
                </a:cxn>
                <a:cxn ang="0">
                  <a:pos x="1719" y="1895"/>
                </a:cxn>
                <a:cxn ang="0">
                  <a:pos x="1803" y="2052"/>
                </a:cxn>
                <a:cxn ang="0">
                  <a:pos x="2137" y="1923"/>
                </a:cxn>
                <a:cxn ang="0">
                  <a:pos x="1881" y="2136"/>
                </a:cxn>
                <a:cxn ang="0">
                  <a:pos x="2253" y="2017"/>
                </a:cxn>
                <a:cxn ang="0">
                  <a:pos x="2503" y="1888"/>
                </a:cxn>
                <a:cxn ang="0">
                  <a:pos x="2740" y="2092"/>
                </a:cxn>
                <a:cxn ang="0">
                  <a:pos x="2787" y="2104"/>
                </a:cxn>
                <a:cxn ang="0">
                  <a:pos x="3126" y="2134"/>
                </a:cxn>
                <a:cxn ang="0">
                  <a:pos x="2992" y="2132"/>
                </a:cxn>
                <a:cxn ang="0">
                  <a:pos x="3051" y="1940"/>
                </a:cxn>
                <a:cxn ang="0">
                  <a:pos x="3441" y="1989"/>
                </a:cxn>
                <a:cxn ang="0">
                  <a:pos x="3257" y="1790"/>
                </a:cxn>
                <a:cxn ang="0">
                  <a:pos x="168" y="2120"/>
                </a:cxn>
                <a:cxn ang="0">
                  <a:pos x="3742" y="1935"/>
                </a:cxn>
                <a:cxn ang="0">
                  <a:pos x="3624" y="2110"/>
                </a:cxn>
                <a:cxn ang="0">
                  <a:pos x="3857" y="2017"/>
                </a:cxn>
                <a:cxn ang="0">
                  <a:pos x="4180" y="1894"/>
                </a:cxn>
                <a:cxn ang="0">
                  <a:pos x="4515" y="2136"/>
                </a:cxn>
                <a:cxn ang="0">
                  <a:pos x="4289" y="1939"/>
                </a:cxn>
                <a:cxn ang="0">
                  <a:pos x="4846" y="2010"/>
                </a:cxn>
                <a:cxn ang="0">
                  <a:pos x="4741" y="1935"/>
                </a:cxn>
                <a:cxn ang="0">
                  <a:pos x="4936" y="1789"/>
                </a:cxn>
                <a:cxn ang="0">
                  <a:pos x="5002" y="2021"/>
                </a:cxn>
                <a:cxn ang="0">
                  <a:pos x="5080" y="1988"/>
                </a:cxn>
                <a:cxn ang="0">
                  <a:pos x="5388" y="2136"/>
                </a:cxn>
                <a:cxn ang="0">
                  <a:pos x="5625" y="1893"/>
                </a:cxn>
                <a:cxn ang="0">
                  <a:pos x="5573" y="1790"/>
                </a:cxn>
                <a:cxn ang="0">
                  <a:pos x="5710" y="1848"/>
                </a:cxn>
                <a:cxn ang="0">
                  <a:pos x="5786" y="2086"/>
                </a:cxn>
                <a:cxn ang="0">
                  <a:pos x="5835" y="2229"/>
                </a:cxn>
              </a:cxnLst>
              <a:rect l="0" t="0" r="r" b="b"/>
              <a:pathLst>
                <a:path w="6099" h="2232">
                  <a:moveTo>
                    <a:pt x="3588" y="1105"/>
                  </a:moveTo>
                  <a:cubicBezTo>
                    <a:pt x="3401" y="1105"/>
                    <a:pt x="3401" y="1105"/>
                    <a:pt x="3401" y="1105"/>
                  </a:cubicBezTo>
                  <a:cubicBezTo>
                    <a:pt x="3431" y="981"/>
                    <a:pt x="3431" y="981"/>
                    <a:pt x="3431" y="981"/>
                  </a:cubicBezTo>
                  <a:cubicBezTo>
                    <a:pt x="3055" y="981"/>
                    <a:pt x="3055" y="981"/>
                    <a:pt x="3055" y="981"/>
                  </a:cubicBezTo>
                  <a:cubicBezTo>
                    <a:pt x="3024" y="1105"/>
                    <a:pt x="3024" y="1105"/>
                    <a:pt x="3024" y="1105"/>
                  </a:cubicBezTo>
                  <a:cubicBezTo>
                    <a:pt x="2843" y="1105"/>
                    <a:pt x="2843" y="1105"/>
                    <a:pt x="2843" y="1105"/>
                  </a:cubicBezTo>
                  <a:cubicBezTo>
                    <a:pt x="2843" y="1079"/>
                    <a:pt x="2843" y="1079"/>
                    <a:pt x="2843" y="1079"/>
                  </a:cubicBezTo>
                  <a:cubicBezTo>
                    <a:pt x="2845" y="1065"/>
                    <a:pt x="2848" y="1051"/>
                    <a:pt x="2851" y="1035"/>
                  </a:cubicBezTo>
                  <a:cubicBezTo>
                    <a:pt x="2884" y="901"/>
                    <a:pt x="2972" y="769"/>
                    <a:pt x="3124" y="769"/>
                  </a:cubicBezTo>
                  <a:cubicBezTo>
                    <a:pt x="3185" y="769"/>
                    <a:pt x="3244" y="792"/>
                    <a:pt x="3236" y="875"/>
                  </a:cubicBezTo>
                  <a:cubicBezTo>
                    <a:pt x="3460" y="875"/>
                    <a:pt x="3460" y="875"/>
                    <a:pt x="3460" y="875"/>
                  </a:cubicBezTo>
                  <a:cubicBezTo>
                    <a:pt x="3469" y="836"/>
                    <a:pt x="3484" y="770"/>
                    <a:pt x="3441" y="709"/>
                  </a:cubicBezTo>
                  <a:cubicBezTo>
                    <a:pt x="3394" y="643"/>
                    <a:pt x="3298" y="616"/>
                    <a:pt x="3173" y="616"/>
                  </a:cubicBezTo>
                  <a:cubicBezTo>
                    <a:pt x="3084" y="616"/>
                    <a:pt x="2955" y="631"/>
                    <a:pt x="2843" y="704"/>
                  </a:cubicBezTo>
                  <a:cubicBezTo>
                    <a:pt x="2843" y="28"/>
                    <a:pt x="2843" y="28"/>
                    <a:pt x="2843" y="28"/>
                  </a:cubicBezTo>
                  <a:cubicBezTo>
                    <a:pt x="3588" y="28"/>
                    <a:pt x="3588" y="28"/>
                    <a:pt x="3588" y="28"/>
                  </a:cubicBezTo>
                  <a:lnTo>
                    <a:pt x="3588" y="1105"/>
                  </a:lnTo>
                  <a:close/>
                  <a:moveTo>
                    <a:pt x="3148" y="1287"/>
                  </a:moveTo>
                  <a:cubicBezTo>
                    <a:pt x="3106" y="1294"/>
                    <a:pt x="3063" y="1300"/>
                    <a:pt x="3023" y="1300"/>
                  </a:cubicBezTo>
                  <a:cubicBezTo>
                    <a:pt x="2915" y="1300"/>
                    <a:pt x="2840" y="1250"/>
                    <a:pt x="2839" y="1133"/>
                  </a:cubicBezTo>
                  <a:cubicBezTo>
                    <a:pt x="3186" y="1133"/>
                    <a:pt x="3186" y="1133"/>
                    <a:pt x="3186" y="1133"/>
                  </a:cubicBezTo>
                  <a:lnTo>
                    <a:pt x="3148" y="1287"/>
                  </a:lnTo>
                  <a:close/>
                  <a:moveTo>
                    <a:pt x="2718" y="672"/>
                  </a:moveTo>
                  <a:cubicBezTo>
                    <a:pt x="2718" y="826"/>
                    <a:pt x="2718" y="826"/>
                    <a:pt x="2718" y="826"/>
                  </a:cubicBezTo>
                  <a:cubicBezTo>
                    <a:pt x="2666" y="898"/>
                    <a:pt x="2634" y="976"/>
                    <a:pt x="2619" y="1040"/>
                  </a:cubicBezTo>
                  <a:cubicBezTo>
                    <a:pt x="2613" y="1061"/>
                    <a:pt x="2609" y="1083"/>
                    <a:pt x="2607" y="1105"/>
                  </a:cubicBezTo>
                  <a:cubicBezTo>
                    <a:pt x="2497" y="1105"/>
                    <a:pt x="2497" y="1105"/>
                    <a:pt x="2497" y="1105"/>
                  </a:cubicBezTo>
                  <a:cubicBezTo>
                    <a:pt x="2591" y="660"/>
                    <a:pt x="2591" y="660"/>
                    <a:pt x="2591" y="660"/>
                  </a:cubicBezTo>
                  <a:cubicBezTo>
                    <a:pt x="2276" y="660"/>
                    <a:pt x="2276" y="660"/>
                    <a:pt x="2276" y="660"/>
                  </a:cubicBezTo>
                  <a:cubicBezTo>
                    <a:pt x="1993" y="1105"/>
                    <a:pt x="1993" y="1105"/>
                    <a:pt x="1993" y="1105"/>
                  </a:cubicBezTo>
                  <a:cubicBezTo>
                    <a:pt x="1973" y="1105"/>
                    <a:pt x="1973" y="1105"/>
                    <a:pt x="1973" y="1105"/>
                  </a:cubicBezTo>
                  <a:cubicBezTo>
                    <a:pt x="1973" y="28"/>
                    <a:pt x="1973" y="28"/>
                    <a:pt x="1973" y="28"/>
                  </a:cubicBezTo>
                  <a:cubicBezTo>
                    <a:pt x="2718" y="28"/>
                    <a:pt x="2718" y="28"/>
                    <a:pt x="2718" y="28"/>
                  </a:cubicBezTo>
                  <a:lnTo>
                    <a:pt x="2718" y="672"/>
                  </a:lnTo>
                  <a:close/>
                  <a:moveTo>
                    <a:pt x="2302" y="1105"/>
                  </a:moveTo>
                  <a:cubicBezTo>
                    <a:pt x="2190" y="1105"/>
                    <a:pt x="2190" y="1105"/>
                    <a:pt x="2190" y="1105"/>
                  </a:cubicBezTo>
                  <a:cubicBezTo>
                    <a:pt x="2360" y="838"/>
                    <a:pt x="2360" y="838"/>
                    <a:pt x="2360" y="838"/>
                  </a:cubicBezTo>
                  <a:lnTo>
                    <a:pt x="2302" y="1105"/>
                  </a:lnTo>
                  <a:close/>
                  <a:moveTo>
                    <a:pt x="1850" y="659"/>
                  </a:moveTo>
                  <a:cubicBezTo>
                    <a:pt x="1663" y="659"/>
                    <a:pt x="1663" y="659"/>
                    <a:pt x="1663" y="659"/>
                  </a:cubicBezTo>
                  <a:cubicBezTo>
                    <a:pt x="1535" y="1105"/>
                    <a:pt x="1535" y="1105"/>
                    <a:pt x="1535" y="1105"/>
                  </a:cubicBezTo>
                  <a:cubicBezTo>
                    <a:pt x="1337" y="1105"/>
                    <a:pt x="1337" y="1105"/>
                    <a:pt x="1337" y="1105"/>
                  </a:cubicBezTo>
                  <a:cubicBezTo>
                    <a:pt x="1438" y="1068"/>
                    <a:pt x="1499" y="996"/>
                    <a:pt x="1518" y="890"/>
                  </a:cubicBezTo>
                  <a:cubicBezTo>
                    <a:pt x="1534" y="809"/>
                    <a:pt x="1527" y="755"/>
                    <a:pt x="1493" y="714"/>
                  </a:cubicBezTo>
                  <a:cubicBezTo>
                    <a:pt x="1443" y="654"/>
                    <a:pt x="1342" y="659"/>
                    <a:pt x="1253" y="659"/>
                  </a:cubicBezTo>
                  <a:cubicBezTo>
                    <a:pt x="1237" y="659"/>
                    <a:pt x="1105" y="659"/>
                    <a:pt x="1105" y="659"/>
                  </a:cubicBezTo>
                  <a:cubicBezTo>
                    <a:pt x="1105" y="28"/>
                    <a:pt x="1105" y="28"/>
                    <a:pt x="1105" y="28"/>
                  </a:cubicBezTo>
                  <a:cubicBezTo>
                    <a:pt x="1850" y="28"/>
                    <a:pt x="1850" y="28"/>
                    <a:pt x="1850" y="28"/>
                  </a:cubicBezTo>
                  <a:lnTo>
                    <a:pt x="1850" y="659"/>
                  </a:lnTo>
                  <a:close/>
                  <a:moveTo>
                    <a:pt x="1730" y="1105"/>
                  </a:moveTo>
                  <a:cubicBezTo>
                    <a:pt x="1809" y="826"/>
                    <a:pt x="1809" y="826"/>
                    <a:pt x="1809" y="826"/>
                  </a:cubicBezTo>
                  <a:cubicBezTo>
                    <a:pt x="1812" y="1105"/>
                    <a:pt x="1812" y="1105"/>
                    <a:pt x="1812" y="1105"/>
                  </a:cubicBezTo>
                  <a:lnTo>
                    <a:pt x="1730" y="1105"/>
                  </a:lnTo>
                  <a:close/>
                  <a:moveTo>
                    <a:pt x="1188" y="999"/>
                  </a:moveTo>
                  <a:cubicBezTo>
                    <a:pt x="1187" y="999"/>
                    <a:pt x="1187" y="999"/>
                    <a:pt x="1187" y="999"/>
                  </a:cubicBezTo>
                  <a:cubicBezTo>
                    <a:pt x="1180" y="999"/>
                    <a:pt x="1173" y="1000"/>
                    <a:pt x="1165" y="1000"/>
                  </a:cubicBezTo>
                  <a:cubicBezTo>
                    <a:pt x="1154" y="1000"/>
                    <a:pt x="1145" y="1000"/>
                    <a:pt x="1137" y="1000"/>
                  </a:cubicBezTo>
                  <a:cubicBezTo>
                    <a:pt x="1089" y="1000"/>
                    <a:pt x="1089" y="1000"/>
                    <a:pt x="1089" y="1000"/>
                  </a:cubicBezTo>
                  <a:cubicBezTo>
                    <a:pt x="1111" y="918"/>
                    <a:pt x="1111" y="918"/>
                    <a:pt x="1111" y="918"/>
                  </a:cubicBezTo>
                  <a:cubicBezTo>
                    <a:pt x="1122" y="878"/>
                    <a:pt x="1122" y="878"/>
                    <a:pt x="1122" y="878"/>
                  </a:cubicBezTo>
                  <a:cubicBezTo>
                    <a:pt x="1147" y="783"/>
                    <a:pt x="1147" y="783"/>
                    <a:pt x="1147" y="783"/>
                  </a:cubicBezTo>
                  <a:cubicBezTo>
                    <a:pt x="1158" y="783"/>
                    <a:pt x="1169" y="782"/>
                    <a:pt x="1179" y="782"/>
                  </a:cubicBezTo>
                  <a:cubicBezTo>
                    <a:pt x="1216" y="782"/>
                    <a:pt x="1216" y="782"/>
                    <a:pt x="1216" y="782"/>
                  </a:cubicBezTo>
                  <a:cubicBezTo>
                    <a:pt x="1279" y="782"/>
                    <a:pt x="1319" y="786"/>
                    <a:pt x="1334" y="806"/>
                  </a:cubicBezTo>
                  <a:cubicBezTo>
                    <a:pt x="1345" y="822"/>
                    <a:pt x="1343" y="848"/>
                    <a:pt x="1330" y="888"/>
                  </a:cubicBezTo>
                  <a:cubicBezTo>
                    <a:pt x="1308" y="957"/>
                    <a:pt x="1279" y="992"/>
                    <a:pt x="1188" y="999"/>
                  </a:cubicBezTo>
                  <a:moveTo>
                    <a:pt x="980" y="699"/>
                  </a:moveTo>
                  <a:cubicBezTo>
                    <a:pt x="969" y="737"/>
                    <a:pt x="969" y="737"/>
                    <a:pt x="969" y="737"/>
                  </a:cubicBezTo>
                  <a:cubicBezTo>
                    <a:pt x="862" y="1092"/>
                    <a:pt x="862" y="1092"/>
                    <a:pt x="862" y="1092"/>
                  </a:cubicBezTo>
                  <a:cubicBezTo>
                    <a:pt x="858" y="1105"/>
                    <a:pt x="858" y="1105"/>
                    <a:pt x="858" y="1105"/>
                  </a:cubicBezTo>
                  <a:cubicBezTo>
                    <a:pt x="507" y="1105"/>
                    <a:pt x="507" y="1105"/>
                    <a:pt x="507" y="1105"/>
                  </a:cubicBezTo>
                  <a:cubicBezTo>
                    <a:pt x="479" y="1047"/>
                    <a:pt x="479" y="1047"/>
                    <a:pt x="479" y="1047"/>
                  </a:cubicBezTo>
                  <a:cubicBezTo>
                    <a:pt x="858" y="660"/>
                    <a:pt x="858" y="660"/>
                    <a:pt x="858" y="660"/>
                  </a:cubicBezTo>
                  <a:cubicBezTo>
                    <a:pt x="615" y="660"/>
                    <a:pt x="615" y="660"/>
                    <a:pt x="615" y="660"/>
                  </a:cubicBezTo>
                  <a:cubicBezTo>
                    <a:pt x="319" y="979"/>
                    <a:pt x="319" y="979"/>
                    <a:pt x="319" y="979"/>
                  </a:cubicBezTo>
                  <a:cubicBezTo>
                    <a:pt x="415" y="660"/>
                    <a:pt x="415" y="660"/>
                    <a:pt x="415" y="660"/>
                  </a:cubicBezTo>
                  <a:cubicBezTo>
                    <a:pt x="235" y="660"/>
                    <a:pt x="235" y="660"/>
                    <a:pt x="235" y="660"/>
                  </a:cubicBezTo>
                  <a:cubicBezTo>
                    <a:pt x="235" y="28"/>
                    <a:pt x="235" y="28"/>
                    <a:pt x="235" y="28"/>
                  </a:cubicBezTo>
                  <a:cubicBezTo>
                    <a:pt x="980" y="28"/>
                    <a:pt x="980" y="28"/>
                    <a:pt x="980" y="28"/>
                  </a:cubicBezTo>
                  <a:lnTo>
                    <a:pt x="980" y="699"/>
                  </a:lnTo>
                  <a:close/>
                  <a:moveTo>
                    <a:pt x="281" y="1105"/>
                  </a:moveTo>
                  <a:cubicBezTo>
                    <a:pt x="282" y="1101"/>
                    <a:pt x="282" y="1101"/>
                    <a:pt x="282" y="1101"/>
                  </a:cubicBezTo>
                  <a:cubicBezTo>
                    <a:pt x="285" y="1105"/>
                    <a:pt x="285" y="1105"/>
                    <a:pt x="285" y="1105"/>
                  </a:cubicBezTo>
                  <a:lnTo>
                    <a:pt x="281" y="1105"/>
                  </a:lnTo>
                  <a:close/>
                  <a:moveTo>
                    <a:pt x="2814" y="0"/>
                  </a:moveTo>
                  <a:cubicBezTo>
                    <a:pt x="2814" y="724"/>
                    <a:pt x="2814" y="724"/>
                    <a:pt x="2814" y="724"/>
                  </a:cubicBezTo>
                  <a:cubicBezTo>
                    <a:pt x="2789" y="744"/>
                    <a:pt x="2767" y="765"/>
                    <a:pt x="2747" y="788"/>
                  </a:cubicBezTo>
                  <a:cubicBezTo>
                    <a:pt x="2747" y="0"/>
                    <a:pt x="2747" y="0"/>
                    <a:pt x="2747" y="0"/>
                  </a:cubicBezTo>
                  <a:cubicBezTo>
                    <a:pt x="1945" y="0"/>
                    <a:pt x="1945" y="0"/>
                    <a:pt x="1945" y="0"/>
                  </a:cubicBezTo>
                  <a:cubicBezTo>
                    <a:pt x="1945" y="659"/>
                    <a:pt x="1945" y="659"/>
                    <a:pt x="1945" y="659"/>
                  </a:cubicBezTo>
                  <a:cubicBezTo>
                    <a:pt x="1878" y="659"/>
                    <a:pt x="1878" y="659"/>
                    <a:pt x="1878" y="659"/>
                  </a:cubicBezTo>
                  <a:cubicBezTo>
                    <a:pt x="1878" y="0"/>
                    <a:pt x="1878" y="0"/>
                    <a:pt x="1878" y="0"/>
                  </a:cubicBezTo>
                  <a:cubicBezTo>
                    <a:pt x="1076" y="0"/>
                    <a:pt x="1076" y="0"/>
                    <a:pt x="1076" y="0"/>
                  </a:cubicBezTo>
                  <a:cubicBezTo>
                    <a:pt x="1076" y="660"/>
                    <a:pt x="1076" y="660"/>
                    <a:pt x="1076" y="660"/>
                  </a:cubicBezTo>
                  <a:cubicBezTo>
                    <a:pt x="1009" y="660"/>
                    <a:pt x="1009" y="660"/>
                    <a:pt x="1009" y="660"/>
                  </a:cubicBezTo>
                  <a:cubicBezTo>
                    <a:pt x="1009" y="0"/>
                    <a:pt x="1009" y="0"/>
                    <a:pt x="1009" y="0"/>
                  </a:cubicBezTo>
                  <a:cubicBezTo>
                    <a:pt x="207" y="0"/>
                    <a:pt x="207" y="0"/>
                    <a:pt x="207" y="0"/>
                  </a:cubicBezTo>
                  <a:cubicBezTo>
                    <a:pt x="207" y="753"/>
                    <a:pt x="207" y="753"/>
                    <a:pt x="207" y="753"/>
                  </a:cubicBezTo>
                  <a:cubicBezTo>
                    <a:pt x="2" y="1435"/>
                    <a:pt x="2" y="1435"/>
                    <a:pt x="2" y="1435"/>
                  </a:cubicBezTo>
                  <a:cubicBezTo>
                    <a:pt x="182" y="1435"/>
                    <a:pt x="182" y="1435"/>
                    <a:pt x="182" y="1435"/>
                  </a:cubicBezTo>
                  <a:cubicBezTo>
                    <a:pt x="273" y="1133"/>
                    <a:pt x="273" y="1133"/>
                    <a:pt x="273" y="1133"/>
                  </a:cubicBezTo>
                  <a:cubicBezTo>
                    <a:pt x="299" y="1133"/>
                    <a:pt x="299" y="1133"/>
                    <a:pt x="299" y="1133"/>
                  </a:cubicBezTo>
                  <a:cubicBezTo>
                    <a:pt x="448" y="1435"/>
                    <a:pt x="448" y="1435"/>
                    <a:pt x="448" y="1435"/>
                  </a:cubicBezTo>
                  <a:cubicBezTo>
                    <a:pt x="665" y="1435"/>
                    <a:pt x="665" y="1435"/>
                    <a:pt x="665" y="1435"/>
                  </a:cubicBezTo>
                  <a:cubicBezTo>
                    <a:pt x="520" y="1133"/>
                    <a:pt x="520" y="1133"/>
                    <a:pt x="520" y="1133"/>
                  </a:cubicBezTo>
                  <a:cubicBezTo>
                    <a:pt x="849" y="1133"/>
                    <a:pt x="849" y="1133"/>
                    <a:pt x="849" y="1133"/>
                  </a:cubicBezTo>
                  <a:cubicBezTo>
                    <a:pt x="758" y="1435"/>
                    <a:pt x="758" y="1435"/>
                    <a:pt x="758" y="1435"/>
                  </a:cubicBezTo>
                  <a:cubicBezTo>
                    <a:pt x="955" y="1435"/>
                    <a:pt x="955" y="1435"/>
                    <a:pt x="955" y="1435"/>
                  </a:cubicBezTo>
                  <a:cubicBezTo>
                    <a:pt x="1045" y="1134"/>
                    <a:pt x="1045" y="1134"/>
                    <a:pt x="1045" y="1134"/>
                  </a:cubicBezTo>
                  <a:cubicBezTo>
                    <a:pt x="1088" y="1134"/>
                    <a:pt x="1088" y="1134"/>
                    <a:pt x="1088" y="1134"/>
                  </a:cubicBezTo>
                  <a:cubicBezTo>
                    <a:pt x="1088" y="1133"/>
                    <a:pt x="1088" y="1133"/>
                    <a:pt x="1088" y="1133"/>
                  </a:cubicBezTo>
                  <a:cubicBezTo>
                    <a:pt x="1150" y="1133"/>
                    <a:pt x="1150" y="1133"/>
                    <a:pt x="1150" y="1133"/>
                  </a:cubicBezTo>
                  <a:cubicBezTo>
                    <a:pt x="1155" y="1133"/>
                    <a:pt x="1155" y="1133"/>
                    <a:pt x="1155" y="1133"/>
                  </a:cubicBezTo>
                  <a:cubicBezTo>
                    <a:pt x="1527" y="1133"/>
                    <a:pt x="1527" y="1133"/>
                    <a:pt x="1527" y="1133"/>
                  </a:cubicBezTo>
                  <a:cubicBezTo>
                    <a:pt x="1440" y="1434"/>
                    <a:pt x="1440" y="1434"/>
                    <a:pt x="1440" y="1434"/>
                  </a:cubicBezTo>
                  <a:cubicBezTo>
                    <a:pt x="1638" y="1434"/>
                    <a:pt x="1638" y="1434"/>
                    <a:pt x="1638" y="1434"/>
                  </a:cubicBezTo>
                  <a:cubicBezTo>
                    <a:pt x="1722" y="1133"/>
                    <a:pt x="1722" y="1133"/>
                    <a:pt x="1722" y="1133"/>
                  </a:cubicBezTo>
                  <a:cubicBezTo>
                    <a:pt x="1812" y="1133"/>
                    <a:pt x="1812" y="1133"/>
                    <a:pt x="1812" y="1133"/>
                  </a:cubicBezTo>
                  <a:cubicBezTo>
                    <a:pt x="1814" y="1434"/>
                    <a:pt x="1814" y="1434"/>
                    <a:pt x="1814" y="1434"/>
                  </a:cubicBezTo>
                  <a:cubicBezTo>
                    <a:pt x="1980" y="1434"/>
                    <a:pt x="1980" y="1434"/>
                    <a:pt x="1980" y="1434"/>
                  </a:cubicBezTo>
                  <a:cubicBezTo>
                    <a:pt x="2171" y="1133"/>
                    <a:pt x="2171" y="1133"/>
                    <a:pt x="2171" y="1133"/>
                  </a:cubicBezTo>
                  <a:cubicBezTo>
                    <a:pt x="2296" y="1133"/>
                    <a:pt x="2296" y="1133"/>
                    <a:pt x="2296" y="1133"/>
                  </a:cubicBezTo>
                  <a:cubicBezTo>
                    <a:pt x="2232" y="1434"/>
                    <a:pt x="2232" y="1434"/>
                    <a:pt x="2232" y="1434"/>
                  </a:cubicBezTo>
                  <a:cubicBezTo>
                    <a:pt x="2427" y="1434"/>
                    <a:pt x="2427" y="1434"/>
                    <a:pt x="2427" y="1434"/>
                  </a:cubicBezTo>
                  <a:cubicBezTo>
                    <a:pt x="2491" y="1133"/>
                    <a:pt x="2491" y="1133"/>
                    <a:pt x="2491" y="1133"/>
                  </a:cubicBezTo>
                  <a:cubicBezTo>
                    <a:pt x="2604" y="1133"/>
                    <a:pt x="2604" y="1133"/>
                    <a:pt x="2604" y="1133"/>
                  </a:cubicBezTo>
                  <a:cubicBezTo>
                    <a:pt x="2599" y="1226"/>
                    <a:pt x="2623" y="1311"/>
                    <a:pt x="2685" y="1368"/>
                  </a:cubicBezTo>
                  <a:cubicBezTo>
                    <a:pt x="2761" y="1438"/>
                    <a:pt x="2877" y="1451"/>
                    <a:pt x="2963" y="1451"/>
                  </a:cubicBezTo>
                  <a:cubicBezTo>
                    <a:pt x="3081" y="1451"/>
                    <a:pt x="3203" y="1434"/>
                    <a:pt x="3326" y="1407"/>
                  </a:cubicBezTo>
                  <a:cubicBezTo>
                    <a:pt x="3394" y="1133"/>
                    <a:pt x="3394" y="1133"/>
                    <a:pt x="3394" y="1133"/>
                  </a:cubicBezTo>
                  <a:cubicBezTo>
                    <a:pt x="3617" y="1133"/>
                    <a:pt x="3617" y="1133"/>
                    <a:pt x="3617" y="1133"/>
                  </a:cubicBezTo>
                  <a:cubicBezTo>
                    <a:pt x="3617" y="0"/>
                    <a:pt x="3617" y="0"/>
                    <a:pt x="3617" y="0"/>
                  </a:cubicBezTo>
                  <a:lnTo>
                    <a:pt x="2814" y="0"/>
                  </a:lnTo>
                  <a:close/>
                  <a:moveTo>
                    <a:pt x="351" y="1894"/>
                  </a:moveTo>
                  <a:cubicBezTo>
                    <a:pt x="321" y="2038"/>
                    <a:pt x="321" y="2038"/>
                    <a:pt x="321" y="2038"/>
                  </a:cubicBezTo>
                  <a:cubicBezTo>
                    <a:pt x="316" y="2060"/>
                    <a:pt x="309" y="2092"/>
                    <a:pt x="348" y="2092"/>
                  </a:cubicBezTo>
                  <a:cubicBezTo>
                    <a:pt x="393" y="2092"/>
                    <a:pt x="400" y="2058"/>
                    <a:pt x="409" y="2016"/>
                  </a:cubicBezTo>
                  <a:cubicBezTo>
                    <a:pt x="435" y="1894"/>
                    <a:pt x="435" y="1894"/>
                    <a:pt x="435" y="1894"/>
                  </a:cubicBezTo>
                  <a:cubicBezTo>
                    <a:pt x="508" y="1894"/>
                    <a:pt x="508" y="1894"/>
                    <a:pt x="508" y="1894"/>
                  </a:cubicBezTo>
                  <a:cubicBezTo>
                    <a:pt x="474" y="2053"/>
                    <a:pt x="474" y="2053"/>
                    <a:pt x="474" y="2053"/>
                  </a:cubicBezTo>
                  <a:cubicBezTo>
                    <a:pt x="464" y="2106"/>
                    <a:pt x="463" y="2112"/>
                    <a:pt x="462" y="2118"/>
                  </a:cubicBezTo>
                  <a:cubicBezTo>
                    <a:pt x="461" y="2125"/>
                    <a:pt x="460" y="2130"/>
                    <a:pt x="460" y="2136"/>
                  </a:cubicBezTo>
                  <a:cubicBezTo>
                    <a:pt x="391" y="2136"/>
                    <a:pt x="391" y="2136"/>
                    <a:pt x="391" y="2136"/>
                  </a:cubicBezTo>
                  <a:cubicBezTo>
                    <a:pt x="395" y="2104"/>
                    <a:pt x="395" y="2104"/>
                    <a:pt x="395" y="2104"/>
                  </a:cubicBezTo>
                  <a:cubicBezTo>
                    <a:pt x="386" y="2115"/>
                    <a:pt x="362" y="2143"/>
                    <a:pt x="315" y="2143"/>
                  </a:cubicBezTo>
                  <a:cubicBezTo>
                    <a:pt x="283" y="2143"/>
                    <a:pt x="259" y="2128"/>
                    <a:pt x="250" y="2110"/>
                  </a:cubicBezTo>
                  <a:cubicBezTo>
                    <a:pt x="238" y="2090"/>
                    <a:pt x="245" y="2056"/>
                    <a:pt x="248" y="2045"/>
                  </a:cubicBezTo>
                  <a:cubicBezTo>
                    <a:pt x="279" y="1894"/>
                    <a:pt x="279" y="1894"/>
                    <a:pt x="279" y="1894"/>
                  </a:cubicBezTo>
                  <a:lnTo>
                    <a:pt x="351" y="1894"/>
                  </a:lnTo>
                  <a:close/>
                  <a:moveTo>
                    <a:pt x="812" y="1942"/>
                  </a:moveTo>
                  <a:cubicBezTo>
                    <a:pt x="870" y="1942"/>
                    <a:pt x="870" y="1942"/>
                    <a:pt x="870" y="1942"/>
                  </a:cubicBezTo>
                  <a:cubicBezTo>
                    <a:pt x="880" y="1895"/>
                    <a:pt x="880" y="1895"/>
                    <a:pt x="880" y="1895"/>
                  </a:cubicBezTo>
                  <a:cubicBezTo>
                    <a:pt x="822" y="1895"/>
                    <a:pt x="822" y="1895"/>
                    <a:pt x="822" y="1895"/>
                  </a:cubicBezTo>
                  <a:cubicBezTo>
                    <a:pt x="838" y="1822"/>
                    <a:pt x="838" y="1822"/>
                    <a:pt x="838" y="1822"/>
                  </a:cubicBezTo>
                  <a:cubicBezTo>
                    <a:pt x="762" y="1848"/>
                    <a:pt x="762" y="1848"/>
                    <a:pt x="762" y="1848"/>
                  </a:cubicBezTo>
                  <a:cubicBezTo>
                    <a:pt x="752" y="1895"/>
                    <a:pt x="752" y="1895"/>
                    <a:pt x="752" y="1895"/>
                  </a:cubicBezTo>
                  <a:cubicBezTo>
                    <a:pt x="654" y="1895"/>
                    <a:pt x="654" y="1895"/>
                    <a:pt x="654" y="1895"/>
                  </a:cubicBezTo>
                  <a:cubicBezTo>
                    <a:pt x="670" y="1822"/>
                    <a:pt x="670" y="1822"/>
                    <a:pt x="670" y="1822"/>
                  </a:cubicBezTo>
                  <a:cubicBezTo>
                    <a:pt x="594" y="1848"/>
                    <a:pt x="594" y="1848"/>
                    <a:pt x="594" y="1848"/>
                  </a:cubicBezTo>
                  <a:cubicBezTo>
                    <a:pt x="584" y="1895"/>
                    <a:pt x="584" y="1895"/>
                    <a:pt x="584" y="1895"/>
                  </a:cubicBezTo>
                  <a:cubicBezTo>
                    <a:pt x="537" y="1895"/>
                    <a:pt x="537" y="1895"/>
                    <a:pt x="537" y="1895"/>
                  </a:cubicBezTo>
                  <a:cubicBezTo>
                    <a:pt x="527" y="1942"/>
                    <a:pt x="527" y="1942"/>
                    <a:pt x="527" y="1942"/>
                  </a:cubicBezTo>
                  <a:cubicBezTo>
                    <a:pt x="574" y="1942"/>
                    <a:pt x="574" y="1942"/>
                    <a:pt x="574" y="1942"/>
                  </a:cubicBezTo>
                  <a:cubicBezTo>
                    <a:pt x="545" y="2075"/>
                    <a:pt x="545" y="2075"/>
                    <a:pt x="545" y="2075"/>
                  </a:cubicBezTo>
                  <a:cubicBezTo>
                    <a:pt x="541" y="2095"/>
                    <a:pt x="531" y="2141"/>
                    <a:pt x="603" y="2141"/>
                  </a:cubicBezTo>
                  <a:cubicBezTo>
                    <a:pt x="615" y="2141"/>
                    <a:pt x="636" y="2139"/>
                    <a:pt x="660" y="2133"/>
                  </a:cubicBezTo>
                  <a:cubicBezTo>
                    <a:pt x="670" y="2086"/>
                    <a:pt x="670" y="2086"/>
                    <a:pt x="670" y="2086"/>
                  </a:cubicBezTo>
                  <a:cubicBezTo>
                    <a:pt x="661" y="2087"/>
                    <a:pt x="656" y="2088"/>
                    <a:pt x="645" y="2088"/>
                  </a:cubicBezTo>
                  <a:cubicBezTo>
                    <a:pt x="614" y="2088"/>
                    <a:pt x="617" y="2074"/>
                    <a:pt x="621" y="2052"/>
                  </a:cubicBezTo>
                  <a:cubicBezTo>
                    <a:pt x="645" y="1942"/>
                    <a:pt x="645" y="1942"/>
                    <a:pt x="645" y="1942"/>
                  </a:cubicBezTo>
                  <a:cubicBezTo>
                    <a:pt x="741" y="1942"/>
                    <a:pt x="741" y="1942"/>
                    <a:pt x="741" y="1942"/>
                  </a:cubicBezTo>
                  <a:cubicBezTo>
                    <a:pt x="713" y="2075"/>
                    <a:pt x="713" y="2075"/>
                    <a:pt x="713" y="2075"/>
                  </a:cubicBezTo>
                  <a:cubicBezTo>
                    <a:pt x="709" y="2095"/>
                    <a:pt x="699" y="2141"/>
                    <a:pt x="771" y="2141"/>
                  </a:cubicBezTo>
                  <a:cubicBezTo>
                    <a:pt x="782" y="2141"/>
                    <a:pt x="804" y="2139"/>
                    <a:pt x="828" y="2133"/>
                  </a:cubicBezTo>
                  <a:cubicBezTo>
                    <a:pt x="838" y="2086"/>
                    <a:pt x="838" y="2086"/>
                    <a:pt x="838" y="2086"/>
                  </a:cubicBezTo>
                  <a:cubicBezTo>
                    <a:pt x="829" y="2087"/>
                    <a:pt x="824" y="2088"/>
                    <a:pt x="813" y="2088"/>
                  </a:cubicBezTo>
                  <a:cubicBezTo>
                    <a:pt x="781" y="2088"/>
                    <a:pt x="785" y="2074"/>
                    <a:pt x="788" y="2052"/>
                  </a:cubicBezTo>
                  <a:lnTo>
                    <a:pt x="812" y="1942"/>
                  </a:lnTo>
                  <a:close/>
                  <a:moveTo>
                    <a:pt x="916" y="1893"/>
                  </a:moveTo>
                  <a:cubicBezTo>
                    <a:pt x="987" y="1893"/>
                    <a:pt x="987" y="1893"/>
                    <a:pt x="987" y="1893"/>
                  </a:cubicBezTo>
                  <a:cubicBezTo>
                    <a:pt x="935" y="2136"/>
                    <a:pt x="935" y="2136"/>
                    <a:pt x="935" y="2136"/>
                  </a:cubicBezTo>
                  <a:cubicBezTo>
                    <a:pt x="864" y="2136"/>
                    <a:pt x="864" y="2136"/>
                    <a:pt x="864" y="2136"/>
                  </a:cubicBezTo>
                  <a:lnTo>
                    <a:pt x="916" y="1893"/>
                  </a:lnTo>
                  <a:close/>
                  <a:moveTo>
                    <a:pt x="935" y="1790"/>
                  </a:moveTo>
                  <a:cubicBezTo>
                    <a:pt x="1011" y="1790"/>
                    <a:pt x="1011" y="1790"/>
                    <a:pt x="1011" y="1790"/>
                  </a:cubicBezTo>
                  <a:cubicBezTo>
                    <a:pt x="998" y="1851"/>
                    <a:pt x="998" y="1851"/>
                    <a:pt x="998" y="1851"/>
                  </a:cubicBezTo>
                  <a:cubicBezTo>
                    <a:pt x="922" y="1851"/>
                    <a:pt x="922" y="1851"/>
                    <a:pt x="922" y="1851"/>
                  </a:cubicBezTo>
                  <a:lnTo>
                    <a:pt x="935" y="1790"/>
                  </a:lnTo>
                  <a:close/>
                  <a:moveTo>
                    <a:pt x="1034" y="1937"/>
                  </a:moveTo>
                  <a:cubicBezTo>
                    <a:pt x="1034" y="1936"/>
                    <a:pt x="1040" y="1909"/>
                    <a:pt x="1042" y="1893"/>
                  </a:cubicBezTo>
                  <a:cubicBezTo>
                    <a:pt x="1110" y="1893"/>
                    <a:pt x="1110" y="1893"/>
                    <a:pt x="1110" y="1893"/>
                  </a:cubicBezTo>
                  <a:cubicBezTo>
                    <a:pt x="1104" y="1929"/>
                    <a:pt x="1104" y="1929"/>
                    <a:pt x="1104" y="1929"/>
                  </a:cubicBezTo>
                  <a:cubicBezTo>
                    <a:pt x="1113" y="1918"/>
                    <a:pt x="1139" y="1887"/>
                    <a:pt x="1192" y="1887"/>
                  </a:cubicBezTo>
                  <a:cubicBezTo>
                    <a:pt x="1239" y="1887"/>
                    <a:pt x="1254" y="1916"/>
                    <a:pt x="1256" y="1933"/>
                  </a:cubicBezTo>
                  <a:cubicBezTo>
                    <a:pt x="1259" y="1948"/>
                    <a:pt x="1257" y="1960"/>
                    <a:pt x="1248" y="2005"/>
                  </a:cubicBezTo>
                  <a:cubicBezTo>
                    <a:pt x="1220" y="2136"/>
                    <a:pt x="1220" y="2136"/>
                    <a:pt x="1220" y="2136"/>
                  </a:cubicBezTo>
                  <a:cubicBezTo>
                    <a:pt x="1147" y="2136"/>
                    <a:pt x="1147" y="2136"/>
                    <a:pt x="1147" y="2136"/>
                  </a:cubicBezTo>
                  <a:cubicBezTo>
                    <a:pt x="1179" y="1985"/>
                    <a:pt x="1179" y="1985"/>
                    <a:pt x="1179" y="1985"/>
                  </a:cubicBezTo>
                  <a:cubicBezTo>
                    <a:pt x="1181" y="1975"/>
                    <a:pt x="1183" y="1967"/>
                    <a:pt x="1181" y="1959"/>
                  </a:cubicBezTo>
                  <a:cubicBezTo>
                    <a:pt x="1178" y="1949"/>
                    <a:pt x="1169" y="1938"/>
                    <a:pt x="1151" y="1938"/>
                  </a:cubicBezTo>
                  <a:cubicBezTo>
                    <a:pt x="1136" y="1938"/>
                    <a:pt x="1120" y="1946"/>
                    <a:pt x="1110" y="1957"/>
                  </a:cubicBezTo>
                  <a:cubicBezTo>
                    <a:pt x="1104" y="1963"/>
                    <a:pt x="1097" y="1975"/>
                    <a:pt x="1093" y="1994"/>
                  </a:cubicBezTo>
                  <a:cubicBezTo>
                    <a:pt x="1063" y="2136"/>
                    <a:pt x="1063" y="2136"/>
                    <a:pt x="1063" y="2136"/>
                  </a:cubicBezTo>
                  <a:cubicBezTo>
                    <a:pt x="992" y="2136"/>
                    <a:pt x="992" y="2136"/>
                    <a:pt x="992" y="2136"/>
                  </a:cubicBezTo>
                  <a:lnTo>
                    <a:pt x="1034" y="1937"/>
                  </a:lnTo>
                  <a:close/>
                  <a:moveTo>
                    <a:pt x="1558" y="1895"/>
                  </a:moveTo>
                  <a:cubicBezTo>
                    <a:pt x="1552" y="1914"/>
                    <a:pt x="1547" y="1930"/>
                    <a:pt x="1542" y="1955"/>
                  </a:cubicBezTo>
                  <a:cubicBezTo>
                    <a:pt x="1504" y="2134"/>
                    <a:pt x="1504" y="2134"/>
                    <a:pt x="1504" y="2134"/>
                  </a:cubicBezTo>
                  <a:cubicBezTo>
                    <a:pt x="1486" y="2223"/>
                    <a:pt x="1409" y="2232"/>
                    <a:pt x="1363" y="2232"/>
                  </a:cubicBezTo>
                  <a:cubicBezTo>
                    <a:pt x="1328" y="2232"/>
                    <a:pt x="1261" y="2228"/>
                    <a:pt x="1272" y="2154"/>
                  </a:cubicBezTo>
                  <a:cubicBezTo>
                    <a:pt x="1340" y="2154"/>
                    <a:pt x="1340" y="2154"/>
                    <a:pt x="1340" y="2154"/>
                  </a:cubicBezTo>
                  <a:cubicBezTo>
                    <a:pt x="1340" y="2158"/>
                    <a:pt x="1339" y="2166"/>
                    <a:pt x="1344" y="2174"/>
                  </a:cubicBezTo>
                  <a:cubicBezTo>
                    <a:pt x="1348" y="2181"/>
                    <a:pt x="1357" y="2188"/>
                    <a:pt x="1375" y="2188"/>
                  </a:cubicBezTo>
                  <a:cubicBezTo>
                    <a:pt x="1397" y="2188"/>
                    <a:pt x="1417" y="2178"/>
                    <a:pt x="1427" y="2156"/>
                  </a:cubicBezTo>
                  <a:cubicBezTo>
                    <a:pt x="1432" y="2144"/>
                    <a:pt x="1434" y="2135"/>
                    <a:pt x="1442" y="2099"/>
                  </a:cubicBezTo>
                  <a:cubicBezTo>
                    <a:pt x="1413" y="2128"/>
                    <a:pt x="1387" y="2132"/>
                    <a:pt x="1370" y="2132"/>
                  </a:cubicBezTo>
                  <a:cubicBezTo>
                    <a:pt x="1300" y="2132"/>
                    <a:pt x="1280" y="2071"/>
                    <a:pt x="1293" y="2012"/>
                  </a:cubicBezTo>
                  <a:cubicBezTo>
                    <a:pt x="1306" y="1951"/>
                    <a:pt x="1352" y="1892"/>
                    <a:pt x="1422" y="1892"/>
                  </a:cubicBezTo>
                  <a:cubicBezTo>
                    <a:pt x="1466" y="1892"/>
                    <a:pt x="1477" y="1916"/>
                    <a:pt x="1482" y="1927"/>
                  </a:cubicBezTo>
                  <a:cubicBezTo>
                    <a:pt x="1492" y="1895"/>
                    <a:pt x="1492" y="1895"/>
                    <a:pt x="1492" y="1895"/>
                  </a:cubicBezTo>
                  <a:lnTo>
                    <a:pt x="1558" y="1895"/>
                  </a:lnTo>
                  <a:close/>
                  <a:moveTo>
                    <a:pt x="1397" y="2083"/>
                  </a:moveTo>
                  <a:cubicBezTo>
                    <a:pt x="1447" y="2083"/>
                    <a:pt x="1459" y="2025"/>
                    <a:pt x="1461" y="2014"/>
                  </a:cubicBezTo>
                  <a:cubicBezTo>
                    <a:pt x="1467" y="1986"/>
                    <a:pt x="1472" y="1940"/>
                    <a:pt x="1428" y="1940"/>
                  </a:cubicBezTo>
                  <a:cubicBezTo>
                    <a:pt x="1401" y="1940"/>
                    <a:pt x="1375" y="1960"/>
                    <a:pt x="1364" y="2012"/>
                  </a:cubicBezTo>
                  <a:cubicBezTo>
                    <a:pt x="1362" y="2025"/>
                    <a:pt x="1349" y="2083"/>
                    <a:pt x="1397" y="2083"/>
                  </a:cubicBezTo>
                  <a:moveTo>
                    <a:pt x="1842" y="2133"/>
                  </a:moveTo>
                  <a:cubicBezTo>
                    <a:pt x="1818" y="2139"/>
                    <a:pt x="1797" y="2141"/>
                    <a:pt x="1786" y="2141"/>
                  </a:cubicBezTo>
                  <a:cubicBezTo>
                    <a:pt x="1714" y="2141"/>
                    <a:pt x="1723" y="2095"/>
                    <a:pt x="1728" y="2075"/>
                  </a:cubicBezTo>
                  <a:cubicBezTo>
                    <a:pt x="1756" y="1942"/>
                    <a:pt x="1756" y="1942"/>
                    <a:pt x="1756" y="1942"/>
                  </a:cubicBezTo>
                  <a:cubicBezTo>
                    <a:pt x="1710" y="1942"/>
                    <a:pt x="1710" y="1942"/>
                    <a:pt x="1710" y="1942"/>
                  </a:cubicBezTo>
                  <a:cubicBezTo>
                    <a:pt x="1719" y="1895"/>
                    <a:pt x="1719" y="1895"/>
                    <a:pt x="1719" y="1895"/>
                  </a:cubicBezTo>
                  <a:cubicBezTo>
                    <a:pt x="1766" y="1895"/>
                    <a:pt x="1766" y="1895"/>
                    <a:pt x="1766" y="1895"/>
                  </a:cubicBezTo>
                  <a:cubicBezTo>
                    <a:pt x="1776" y="1848"/>
                    <a:pt x="1776" y="1848"/>
                    <a:pt x="1776" y="1848"/>
                  </a:cubicBezTo>
                  <a:cubicBezTo>
                    <a:pt x="1852" y="1822"/>
                    <a:pt x="1852" y="1822"/>
                    <a:pt x="1852" y="1822"/>
                  </a:cubicBezTo>
                  <a:cubicBezTo>
                    <a:pt x="1837" y="1895"/>
                    <a:pt x="1837" y="1895"/>
                    <a:pt x="1837" y="1895"/>
                  </a:cubicBezTo>
                  <a:cubicBezTo>
                    <a:pt x="1895" y="1895"/>
                    <a:pt x="1895" y="1895"/>
                    <a:pt x="1895" y="1895"/>
                  </a:cubicBezTo>
                  <a:cubicBezTo>
                    <a:pt x="1884" y="1942"/>
                    <a:pt x="1884" y="1942"/>
                    <a:pt x="1884" y="1942"/>
                  </a:cubicBezTo>
                  <a:cubicBezTo>
                    <a:pt x="1827" y="1942"/>
                    <a:pt x="1827" y="1942"/>
                    <a:pt x="1827" y="1942"/>
                  </a:cubicBezTo>
                  <a:cubicBezTo>
                    <a:pt x="1803" y="2052"/>
                    <a:pt x="1803" y="2052"/>
                    <a:pt x="1803" y="2052"/>
                  </a:cubicBezTo>
                  <a:cubicBezTo>
                    <a:pt x="1799" y="2074"/>
                    <a:pt x="1796" y="2088"/>
                    <a:pt x="1828" y="2088"/>
                  </a:cubicBezTo>
                  <a:cubicBezTo>
                    <a:pt x="1838" y="2088"/>
                    <a:pt x="1844" y="2087"/>
                    <a:pt x="1852" y="2086"/>
                  </a:cubicBezTo>
                  <a:lnTo>
                    <a:pt x="1842" y="2133"/>
                  </a:lnTo>
                  <a:close/>
                  <a:moveTo>
                    <a:pt x="1954" y="1790"/>
                  </a:moveTo>
                  <a:cubicBezTo>
                    <a:pt x="2025" y="1790"/>
                    <a:pt x="2025" y="1790"/>
                    <a:pt x="2025" y="1790"/>
                  </a:cubicBezTo>
                  <a:cubicBezTo>
                    <a:pt x="1996" y="1927"/>
                    <a:pt x="1996" y="1927"/>
                    <a:pt x="1996" y="1927"/>
                  </a:cubicBezTo>
                  <a:cubicBezTo>
                    <a:pt x="2007" y="1915"/>
                    <a:pt x="2030" y="1890"/>
                    <a:pt x="2074" y="1890"/>
                  </a:cubicBezTo>
                  <a:cubicBezTo>
                    <a:pt x="2110" y="1890"/>
                    <a:pt x="2129" y="1908"/>
                    <a:pt x="2137" y="1923"/>
                  </a:cubicBezTo>
                  <a:cubicBezTo>
                    <a:pt x="2143" y="1935"/>
                    <a:pt x="2146" y="1957"/>
                    <a:pt x="2139" y="1989"/>
                  </a:cubicBezTo>
                  <a:cubicBezTo>
                    <a:pt x="2108" y="2136"/>
                    <a:pt x="2108" y="2136"/>
                    <a:pt x="2108" y="2136"/>
                  </a:cubicBezTo>
                  <a:cubicBezTo>
                    <a:pt x="2037" y="2136"/>
                    <a:pt x="2037" y="2136"/>
                    <a:pt x="2037" y="2136"/>
                  </a:cubicBezTo>
                  <a:cubicBezTo>
                    <a:pt x="2068" y="1991"/>
                    <a:pt x="2068" y="1991"/>
                    <a:pt x="2068" y="1991"/>
                  </a:cubicBezTo>
                  <a:cubicBezTo>
                    <a:pt x="2071" y="1977"/>
                    <a:pt x="2079" y="1938"/>
                    <a:pt x="2040" y="1938"/>
                  </a:cubicBezTo>
                  <a:cubicBezTo>
                    <a:pt x="2019" y="1938"/>
                    <a:pt x="1991" y="1950"/>
                    <a:pt x="1983" y="1988"/>
                  </a:cubicBezTo>
                  <a:cubicBezTo>
                    <a:pt x="1952" y="2136"/>
                    <a:pt x="1952" y="2136"/>
                    <a:pt x="1952" y="2136"/>
                  </a:cubicBezTo>
                  <a:cubicBezTo>
                    <a:pt x="1881" y="2136"/>
                    <a:pt x="1881" y="2136"/>
                    <a:pt x="1881" y="2136"/>
                  </a:cubicBezTo>
                  <a:lnTo>
                    <a:pt x="1954" y="1790"/>
                  </a:lnTo>
                  <a:close/>
                  <a:moveTo>
                    <a:pt x="2195" y="1953"/>
                  </a:moveTo>
                  <a:cubicBezTo>
                    <a:pt x="2197" y="1942"/>
                    <a:pt x="2203" y="1906"/>
                    <a:pt x="2205" y="1893"/>
                  </a:cubicBezTo>
                  <a:cubicBezTo>
                    <a:pt x="2271" y="1893"/>
                    <a:pt x="2271" y="1893"/>
                    <a:pt x="2271" y="1893"/>
                  </a:cubicBezTo>
                  <a:cubicBezTo>
                    <a:pt x="2263" y="1939"/>
                    <a:pt x="2263" y="1939"/>
                    <a:pt x="2263" y="1939"/>
                  </a:cubicBezTo>
                  <a:cubicBezTo>
                    <a:pt x="2276" y="1919"/>
                    <a:pt x="2298" y="1889"/>
                    <a:pt x="2356" y="1892"/>
                  </a:cubicBezTo>
                  <a:cubicBezTo>
                    <a:pt x="2342" y="1956"/>
                    <a:pt x="2342" y="1956"/>
                    <a:pt x="2342" y="1956"/>
                  </a:cubicBezTo>
                  <a:cubicBezTo>
                    <a:pt x="2271" y="1949"/>
                    <a:pt x="2259" y="1986"/>
                    <a:pt x="2253" y="2017"/>
                  </a:cubicBezTo>
                  <a:cubicBezTo>
                    <a:pt x="2227" y="2136"/>
                    <a:pt x="2227" y="2136"/>
                    <a:pt x="2227" y="2136"/>
                  </a:cubicBezTo>
                  <a:cubicBezTo>
                    <a:pt x="2156" y="2136"/>
                    <a:pt x="2156" y="2136"/>
                    <a:pt x="2156" y="2136"/>
                  </a:cubicBezTo>
                  <a:lnTo>
                    <a:pt x="2195" y="1953"/>
                  </a:lnTo>
                  <a:close/>
                  <a:moveTo>
                    <a:pt x="2503" y="1888"/>
                  </a:moveTo>
                  <a:cubicBezTo>
                    <a:pt x="2591" y="1888"/>
                    <a:pt x="2617" y="1948"/>
                    <a:pt x="2602" y="2015"/>
                  </a:cubicBezTo>
                  <a:cubicBezTo>
                    <a:pt x="2587" y="2083"/>
                    <a:pt x="2535" y="2145"/>
                    <a:pt x="2447" y="2145"/>
                  </a:cubicBezTo>
                  <a:cubicBezTo>
                    <a:pt x="2378" y="2145"/>
                    <a:pt x="2332" y="2102"/>
                    <a:pt x="2350" y="2017"/>
                  </a:cubicBezTo>
                  <a:cubicBezTo>
                    <a:pt x="2362" y="1959"/>
                    <a:pt x="2408" y="1888"/>
                    <a:pt x="2503" y="1888"/>
                  </a:cubicBezTo>
                  <a:moveTo>
                    <a:pt x="2460" y="2095"/>
                  </a:moveTo>
                  <a:cubicBezTo>
                    <a:pt x="2491" y="2095"/>
                    <a:pt x="2516" y="2077"/>
                    <a:pt x="2530" y="2012"/>
                  </a:cubicBezTo>
                  <a:cubicBezTo>
                    <a:pt x="2537" y="1980"/>
                    <a:pt x="2540" y="1935"/>
                    <a:pt x="2493" y="1935"/>
                  </a:cubicBezTo>
                  <a:cubicBezTo>
                    <a:pt x="2441" y="1935"/>
                    <a:pt x="2427" y="1995"/>
                    <a:pt x="2423" y="2018"/>
                  </a:cubicBezTo>
                  <a:cubicBezTo>
                    <a:pt x="2411" y="2072"/>
                    <a:pt x="2425" y="2095"/>
                    <a:pt x="2460" y="2095"/>
                  </a:cubicBezTo>
                  <a:moveTo>
                    <a:pt x="2743" y="1894"/>
                  </a:moveTo>
                  <a:cubicBezTo>
                    <a:pt x="2713" y="2038"/>
                    <a:pt x="2713" y="2038"/>
                    <a:pt x="2713" y="2038"/>
                  </a:cubicBezTo>
                  <a:cubicBezTo>
                    <a:pt x="2708" y="2060"/>
                    <a:pt x="2701" y="2092"/>
                    <a:pt x="2740" y="2092"/>
                  </a:cubicBezTo>
                  <a:cubicBezTo>
                    <a:pt x="2785" y="2092"/>
                    <a:pt x="2792" y="2058"/>
                    <a:pt x="2801" y="2016"/>
                  </a:cubicBezTo>
                  <a:cubicBezTo>
                    <a:pt x="2827" y="1894"/>
                    <a:pt x="2827" y="1894"/>
                    <a:pt x="2827" y="1894"/>
                  </a:cubicBezTo>
                  <a:cubicBezTo>
                    <a:pt x="2900" y="1894"/>
                    <a:pt x="2900" y="1894"/>
                    <a:pt x="2900" y="1894"/>
                  </a:cubicBezTo>
                  <a:cubicBezTo>
                    <a:pt x="2867" y="2053"/>
                    <a:pt x="2867" y="2053"/>
                    <a:pt x="2867" y="2053"/>
                  </a:cubicBezTo>
                  <a:cubicBezTo>
                    <a:pt x="2856" y="2106"/>
                    <a:pt x="2855" y="2112"/>
                    <a:pt x="2854" y="2118"/>
                  </a:cubicBezTo>
                  <a:cubicBezTo>
                    <a:pt x="2853" y="2125"/>
                    <a:pt x="2852" y="2130"/>
                    <a:pt x="2852" y="2136"/>
                  </a:cubicBezTo>
                  <a:cubicBezTo>
                    <a:pt x="2783" y="2136"/>
                    <a:pt x="2783" y="2136"/>
                    <a:pt x="2783" y="2136"/>
                  </a:cubicBezTo>
                  <a:cubicBezTo>
                    <a:pt x="2787" y="2104"/>
                    <a:pt x="2787" y="2104"/>
                    <a:pt x="2787" y="2104"/>
                  </a:cubicBezTo>
                  <a:cubicBezTo>
                    <a:pt x="2778" y="2115"/>
                    <a:pt x="2753" y="2143"/>
                    <a:pt x="2707" y="2143"/>
                  </a:cubicBezTo>
                  <a:cubicBezTo>
                    <a:pt x="2675" y="2143"/>
                    <a:pt x="2651" y="2128"/>
                    <a:pt x="2641" y="2110"/>
                  </a:cubicBezTo>
                  <a:cubicBezTo>
                    <a:pt x="2630" y="2090"/>
                    <a:pt x="2637" y="2056"/>
                    <a:pt x="2639" y="2045"/>
                  </a:cubicBezTo>
                  <a:cubicBezTo>
                    <a:pt x="2671" y="1894"/>
                    <a:pt x="2671" y="1894"/>
                    <a:pt x="2671" y="1894"/>
                  </a:cubicBezTo>
                  <a:lnTo>
                    <a:pt x="2743" y="1894"/>
                  </a:lnTo>
                  <a:close/>
                  <a:moveTo>
                    <a:pt x="3181" y="1895"/>
                  </a:moveTo>
                  <a:cubicBezTo>
                    <a:pt x="3175" y="1914"/>
                    <a:pt x="3170" y="1930"/>
                    <a:pt x="3164" y="1955"/>
                  </a:cubicBezTo>
                  <a:cubicBezTo>
                    <a:pt x="3126" y="2134"/>
                    <a:pt x="3126" y="2134"/>
                    <a:pt x="3126" y="2134"/>
                  </a:cubicBezTo>
                  <a:cubicBezTo>
                    <a:pt x="3108" y="2223"/>
                    <a:pt x="3031" y="2232"/>
                    <a:pt x="2985" y="2232"/>
                  </a:cubicBezTo>
                  <a:cubicBezTo>
                    <a:pt x="2950" y="2232"/>
                    <a:pt x="2883" y="2228"/>
                    <a:pt x="2894" y="2154"/>
                  </a:cubicBezTo>
                  <a:cubicBezTo>
                    <a:pt x="2962" y="2154"/>
                    <a:pt x="2962" y="2154"/>
                    <a:pt x="2962" y="2154"/>
                  </a:cubicBezTo>
                  <a:cubicBezTo>
                    <a:pt x="2962" y="2158"/>
                    <a:pt x="2962" y="2166"/>
                    <a:pt x="2966" y="2174"/>
                  </a:cubicBezTo>
                  <a:cubicBezTo>
                    <a:pt x="2970" y="2181"/>
                    <a:pt x="2979" y="2188"/>
                    <a:pt x="2998" y="2188"/>
                  </a:cubicBezTo>
                  <a:cubicBezTo>
                    <a:pt x="3019" y="2188"/>
                    <a:pt x="3040" y="2178"/>
                    <a:pt x="3049" y="2156"/>
                  </a:cubicBezTo>
                  <a:cubicBezTo>
                    <a:pt x="3054" y="2144"/>
                    <a:pt x="3056" y="2135"/>
                    <a:pt x="3064" y="2099"/>
                  </a:cubicBezTo>
                  <a:cubicBezTo>
                    <a:pt x="3036" y="2128"/>
                    <a:pt x="3009" y="2132"/>
                    <a:pt x="2992" y="2132"/>
                  </a:cubicBezTo>
                  <a:cubicBezTo>
                    <a:pt x="2922" y="2132"/>
                    <a:pt x="2903" y="2071"/>
                    <a:pt x="2915" y="2012"/>
                  </a:cubicBezTo>
                  <a:cubicBezTo>
                    <a:pt x="2928" y="1951"/>
                    <a:pt x="2974" y="1892"/>
                    <a:pt x="3044" y="1892"/>
                  </a:cubicBezTo>
                  <a:cubicBezTo>
                    <a:pt x="3088" y="1892"/>
                    <a:pt x="3099" y="1916"/>
                    <a:pt x="3105" y="1927"/>
                  </a:cubicBezTo>
                  <a:cubicBezTo>
                    <a:pt x="3114" y="1895"/>
                    <a:pt x="3114" y="1895"/>
                    <a:pt x="3114" y="1895"/>
                  </a:cubicBezTo>
                  <a:lnTo>
                    <a:pt x="3181" y="1895"/>
                  </a:lnTo>
                  <a:close/>
                  <a:moveTo>
                    <a:pt x="3019" y="2083"/>
                  </a:moveTo>
                  <a:cubicBezTo>
                    <a:pt x="3069" y="2083"/>
                    <a:pt x="3081" y="2025"/>
                    <a:pt x="3083" y="2014"/>
                  </a:cubicBezTo>
                  <a:cubicBezTo>
                    <a:pt x="3089" y="1986"/>
                    <a:pt x="3094" y="1940"/>
                    <a:pt x="3051" y="1940"/>
                  </a:cubicBezTo>
                  <a:cubicBezTo>
                    <a:pt x="3024" y="1940"/>
                    <a:pt x="2997" y="1960"/>
                    <a:pt x="2986" y="2012"/>
                  </a:cubicBezTo>
                  <a:cubicBezTo>
                    <a:pt x="2984" y="2025"/>
                    <a:pt x="2971" y="2083"/>
                    <a:pt x="3019" y="2083"/>
                  </a:cubicBezTo>
                  <a:moveTo>
                    <a:pt x="3257" y="1790"/>
                  </a:moveTo>
                  <a:cubicBezTo>
                    <a:pt x="3327" y="1790"/>
                    <a:pt x="3327" y="1790"/>
                    <a:pt x="3327" y="1790"/>
                  </a:cubicBezTo>
                  <a:cubicBezTo>
                    <a:pt x="3298" y="1927"/>
                    <a:pt x="3298" y="1927"/>
                    <a:pt x="3298" y="1927"/>
                  </a:cubicBezTo>
                  <a:cubicBezTo>
                    <a:pt x="3309" y="1915"/>
                    <a:pt x="3332" y="1890"/>
                    <a:pt x="3376" y="1890"/>
                  </a:cubicBezTo>
                  <a:cubicBezTo>
                    <a:pt x="3412" y="1890"/>
                    <a:pt x="3431" y="1908"/>
                    <a:pt x="3440" y="1923"/>
                  </a:cubicBezTo>
                  <a:cubicBezTo>
                    <a:pt x="3446" y="1935"/>
                    <a:pt x="3448" y="1957"/>
                    <a:pt x="3441" y="1989"/>
                  </a:cubicBezTo>
                  <a:cubicBezTo>
                    <a:pt x="3410" y="2136"/>
                    <a:pt x="3410" y="2136"/>
                    <a:pt x="3410" y="2136"/>
                  </a:cubicBezTo>
                  <a:cubicBezTo>
                    <a:pt x="3340" y="2136"/>
                    <a:pt x="3340" y="2136"/>
                    <a:pt x="3340" y="2136"/>
                  </a:cubicBezTo>
                  <a:cubicBezTo>
                    <a:pt x="3370" y="1991"/>
                    <a:pt x="3370" y="1991"/>
                    <a:pt x="3370" y="1991"/>
                  </a:cubicBezTo>
                  <a:cubicBezTo>
                    <a:pt x="3373" y="1977"/>
                    <a:pt x="3382" y="1938"/>
                    <a:pt x="3342" y="1938"/>
                  </a:cubicBezTo>
                  <a:cubicBezTo>
                    <a:pt x="3322" y="1938"/>
                    <a:pt x="3293" y="1950"/>
                    <a:pt x="3286" y="1988"/>
                  </a:cubicBezTo>
                  <a:cubicBezTo>
                    <a:pt x="3255" y="2136"/>
                    <a:pt x="3255" y="2136"/>
                    <a:pt x="3255" y="2136"/>
                  </a:cubicBezTo>
                  <a:cubicBezTo>
                    <a:pt x="3183" y="2136"/>
                    <a:pt x="3183" y="2136"/>
                    <a:pt x="3183" y="2136"/>
                  </a:cubicBezTo>
                  <a:lnTo>
                    <a:pt x="3257" y="1790"/>
                  </a:lnTo>
                  <a:close/>
                  <a:moveTo>
                    <a:pt x="158" y="1980"/>
                  </a:moveTo>
                  <a:cubicBezTo>
                    <a:pt x="159" y="1971"/>
                    <a:pt x="164" y="1935"/>
                    <a:pt x="137" y="1935"/>
                  </a:cubicBezTo>
                  <a:cubicBezTo>
                    <a:pt x="103" y="1935"/>
                    <a:pt x="89" y="1986"/>
                    <a:pt x="83" y="2012"/>
                  </a:cubicBezTo>
                  <a:cubicBezTo>
                    <a:pt x="80" y="2026"/>
                    <a:pt x="72" y="2069"/>
                    <a:pt x="85" y="2087"/>
                  </a:cubicBezTo>
                  <a:cubicBezTo>
                    <a:pt x="90" y="2094"/>
                    <a:pt x="97" y="2095"/>
                    <a:pt x="102" y="2095"/>
                  </a:cubicBezTo>
                  <a:cubicBezTo>
                    <a:pt x="109" y="2095"/>
                    <a:pt x="133" y="2092"/>
                    <a:pt x="145" y="2048"/>
                  </a:cubicBezTo>
                  <a:cubicBezTo>
                    <a:pt x="215" y="2048"/>
                    <a:pt x="215" y="2048"/>
                    <a:pt x="215" y="2048"/>
                  </a:cubicBezTo>
                  <a:cubicBezTo>
                    <a:pt x="210" y="2067"/>
                    <a:pt x="201" y="2097"/>
                    <a:pt x="168" y="2120"/>
                  </a:cubicBezTo>
                  <a:cubicBezTo>
                    <a:pt x="148" y="2135"/>
                    <a:pt x="124" y="2143"/>
                    <a:pt x="94" y="2143"/>
                  </a:cubicBezTo>
                  <a:cubicBezTo>
                    <a:pt x="62" y="2143"/>
                    <a:pt x="35" y="2135"/>
                    <a:pt x="18" y="2110"/>
                  </a:cubicBezTo>
                  <a:cubicBezTo>
                    <a:pt x="2" y="2086"/>
                    <a:pt x="0" y="2053"/>
                    <a:pt x="8" y="2015"/>
                  </a:cubicBezTo>
                  <a:cubicBezTo>
                    <a:pt x="32" y="1904"/>
                    <a:pt x="116" y="1889"/>
                    <a:pt x="148" y="1889"/>
                  </a:cubicBezTo>
                  <a:cubicBezTo>
                    <a:pt x="193" y="1889"/>
                    <a:pt x="241" y="1914"/>
                    <a:pt x="228" y="1980"/>
                  </a:cubicBezTo>
                  <a:lnTo>
                    <a:pt x="158" y="1980"/>
                  </a:lnTo>
                  <a:close/>
                  <a:moveTo>
                    <a:pt x="3764" y="1980"/>
                  </a:moveTo>
                  <a:cubicBezTo>
                    <a:pt x="3765" y="1971"/>
                    <a:pt x="3770" y="1935"/>
                    <a:pt x="3742" y="1935"/>
                  </a:cubicBezTo>
                  <a:cubicBezTo>
                    <a:pt x="3709" y="1935"/>
                    <a:pt x="3694" y="1986"/>
                    <a:pt x="3688" y="2012"/>
                  </a:cubicBezTo>
                  <a:cubicBezTo>
                    <a:pt x="3685" y="2026"/>
                    <a:pt x="3678" y="2069"/>
                    <a:pt x="3691" y="2087"/>
                  </a:cubicBezTo>
                  <a:cubicBezTo>
                    <a:pt x="3695" y="2094"/>
                    <a:pt x="3703" y="2095"/>
                    <a:pt x="3708" y="2095"/>
                  </a:cubicBezTo>
                  <a:cubicBezTo>
                    <a:pt x="3715" y="2095"/>
                    <a:pt x="3738" y="2092"/>
                    <a:pt x="3751" y="2048"/>
                  </a:cubicBezTo>
                  <a:cubicBezTo>
                    <a:pt x="3820" y="2048"/>
                    <a:pt x="3820" y="2048"/>
                    <a:pt x="3820" y="2048"/>
                  </a:cubicBezTo>
                  <a:cubicBezTo>
                    <a:pt x="3816" y="2067"/>
                    <a:pt x="3807" y="2097"/>
                    <a:pt x="3774" y="2120"/>
                  </a:cubicBezTo>
                  <a:cubicBezTo>
                    <a:pt x="3754" y="2135"/>
                    <a:pt x="3730" y="2143"/>
                    <a:pt x="3700" y="2143"/>
                  </a:cubicBezTo>
                  <a:cubicBezTo>
                    <a:pt x="3668" y="2143"/>
                    <a:pt x="3641" y="2135"/>
                    <a:pt x="3624" y="2110"/>
                  </a:cubicBezTo>
                  <a:cubicBezTo>
                    <a:pt x="3608" y="2086"/>
                    <a:pt x="3606" y="2053"/>
                    <a:pt x="3614" y="2015"/>
                  </a:cubicBezTo>
                  <a:cubicBezTo>
                    <a:pt x="3638" y="1904"/>
                    <a:pt x="3722" y="1889"/>
                    <a:pt x="3754" y="1889"/>
                  </a:cubicBezTo>
                  <a:cubicBezTo>
                    <a:pt x="3799" y="1889"/>
                    <a:pt x="3847" y="1914"/>
                    <a:pt x="3834" y="1980"/>
                  </a:cubicBezTo>
                  <a:lnTo>
                    <a:pt x="3764" y="1980"/>
                  </a:lnTo>
                  <a:close/>
                  <a:moveTo>
                    <a:pt x="4010" y="1888"/>
                  </a:moveTo>
                  <a:cubicBezTo>
                    <a:pt x="4098" y="1888"/>
                    <a:pt x="4123" y="1948"/>
                    <a:pt x="4109" y="2015"/>
                  </a:cubicBezTo>
                  <a:cubicBezTo>
                    <a:pt x="4094" y="2083"/>
                    <a:pt x="4042" y="2145"/>
                    <a:pt x="3954" y="2145"/>
                  </a:cubicBezTo>
                  <a:cubicBezTo>
                    <a:pt x="3884" y="2145"/>
                    <a:pt x="3839" y="2102"/>
                    <a:pt x="3857" y="2017"/>
                  </a:cubicBezTo>
                  <a:cubicBezTo>
                    <a:pt x="3870" y="1959"/>
                    <a:pt x="3914" y="1888"/>
                    <a:pt x="4010" y="1888"/>
                  </a:cubicBezTo>
                  <a:moveTo>
                    <a:pt x="3967" y="2095"/>
                  </a:moveTo>
                  <a:cubicBezTo>
                    <a:pt x="3998" y="2095"/>
                    <a:pt x="4023" y="2077"/>
                    <a:pt x="4037" y="2012"/>
                  </a:cubicBezTo>
                  <a:cubicBezTo>
                    <a:pt x="4044" y="1980"/>
                    <a:pt x="4047" y="1935"/>
                    <a:pt x="4000" y="1935"/>
                  </a:cubicBezTo>
                  <a:cubicBezTo>
                    <a:pt x="3948" y="1935"/>
                    <a:pt x="3935" y="1995"/>
                    <a:pt x="3930" y="2018"/>
                  </a:cubicBezTo>
                  <a:cubicBezTo>
                    <a:pt x="3918" y="2072"/>
                    <a:pt x="3932" y="2095"/>
                    <a:pt x="3967" y="2095"/>
                  </a:cubicBezTo>
                  <a:moveTo>
                    <a:pt x="4173" y="1939"/>
                  </a:moveTo>
                  <a:cubicBezTo>
                    <a:pt x="4176" y="1924"/>
                    <a:pt x="4178" y="1909"/>
                    <a:pt x="4180" y="1894"/>
                  </a:cubicBezTo>
                  <a:cubicBezTo>
                    <a:pt x="4248" y="1894"/>
                    <a:pt x="4248" y="1894"/>
                    <a:pt x="4248" y="1894"/>
                  </a:cubicBezTo>
                  <a:cubicBezTo>
                    <a:pt x="4245" y="1925"/>
                    <a:pt x="4245" y="1925"/>
                    <a:pt x="4245" y="1925"/>
                  </a:cubicBezTo>
                  <a:cubicBezTo>
                    <a:pt x="4254" y="1915"/>
                    <a:pt x="4279" y="1889"/>
                    <a:pt x="4327" y="1889"/>
                  </a:cubicBezTo>
                  <a:cubicBezTo>
                    <a:pt x="4383" y="1889"/>
                    <a:pt x="4392" y="1923"/>
                    <a:pt x="4394" y="1934"/>
                  </a:cubicBezTo>
                  <a:cubicBezTo>
                    <a:pt x="4423" y="1895"/>
                    <a:pt x="4456" y="1889"/>
                    <a:pt x="4481" y="1889"/>
                  </a:cubicBezTo>
                  <a:cubicBezTo>
                    <a:pt x="4530" y="1889"/>
                    <a:pt x="4544" y="1918"/>
                    <a:pt x="4547" y="1928"/>
                  </a:cubicBezTo>
                  <a:cubicBezTo>
                    <a:pt x="4555" y="1949"/>
                    <a:pt x="4548" y="1978"/>
                    <a:pt x="4544" y="1999"/>
                  </a:cubicBezTo>
                  <a:cubicBezTo>
                    <a:pt x="4515" y="2136"/>
                    <a:pt x="4515" y="2136"/>
                    <a:pt x="4515" y="2136"/>
                  </a:cubicBezTo>
                  <a:cubicBezTo>
                    <a:pt x="4443" y="2136"/>
                    <a:pt x="4443" y="2136"/>
                    <a:pt x="4443" y="2136"/>
                  </a:cubicBezTo>
                  <a:cubicBezTo>
                    <a:pt x="4473" y="1994"/>
                    <a:pt x="4473" y="1994"/>
                    <a:pt x="4473" y="1994"/>
                  </a:cubicBezTo>
                  <a:cubicBezTo>
                    <a:pt x="4479" y="1968"/>
                    <a:pt x="4481" y="1939"/>
                    <a:pt x="4444" y="1939"/>
                  </a:cubicBezTo>
                  <a:cubicBezTo>
                    <a:pt x="4401" y="1939"/>
                    <a:pt x="4392" y="1979"/>
                    <a:pt x="4385" y="2015"/>
                  </a:cubicBezTo>
                  <a:cubicBezTo>
                    <a:pt x="4358" y="2136"/>
                    <a:pt x="4358" y="2136"/>
                    <a:pt x="4358" y="2136"/>
                  </a:cubicBezTo>
                  <a:cubicBezTo>
                    <a:pt x="4286" y="2136"/>
                    <a:pt x="4286" y="2136"/>
                    <a:pt x="4286" y="2136"/>
                  </a:cubicBezTo>
                  <a:cubicBezTo>
                    <a:pt x="4318" y="1992"/>
                    <a:pt x="4318" y="1992"/>
                    <a:pt x="4318" y="1992"/>
                  </a:cubicBezTo>
                  <a:cubicBezTo>
                    <a:pt x="4321" y="1974"/>
                    <a:pt x="4328" y="1939"/>
                    <a:pt x="4289" y="1939"/>
                  </a:cubicBezTo>
                  <a:cubicBezTo>
                    <a:pt x="4244" y="1939"/>
                    <a:pt x="4236" y="1977"/>
                    <a:pt x="4232" y="1994"/>
                  </a:cubicBezTo>
                  <a:cubicBezTo>
                    <a:pt x="4202" y="2136"/>
                    <a:pt x="4202" y="2136"/>
                    <a:pt x="4202" y="2136"/>
                  </a:cubicBezTo>
                  <a:cubicBezTo>
                    <a:pt x="4131" y="2136"/>
                    <a:pt x="4131" y="2136"/>
                    <a:pt x="4131" y="2136"/>
                  </a:cubicBezTo>
                  <a:lnTo>
                    <a:pt x="4173" y="1939"/>
                  </a:lnTo>
                  <a:close/>
                  <a:moveTo>
                    <a:pt x="4694" y="1894"/>
                  </a:moveTo>
                  <a:cubicBezTo>
                    <a:pt x="4689" y="1928"/>
                    <a:pt x="4689" y="1928"/>
                    <a:pt x="4689" y="1928"/>
                  </a:cubicBezTo>
                  <a:cubicBezTo>
                    <a:pt x="4719" y="1889"/>
                    <a:pt x="4759" y="1889"/>
                    <a:pt x="4771" y="1889"/>
                  </a:cubicBezTo>
                  <a:cubicBezTo>
                    <a:pt x="4834" y="1889"/>
                    <a:pt x="4862" y="1936"/>
                    <a:pt x="4846" y="2010"/>
                  </a:cubicBezTo>
                  <a:cubicBezTo>
                    <a:pt x="4832" y="2079"/>
                    <a:pt x="4783" y="2140"/>
                    <a:pt x="4713" y="2140"/>
                  </a:cubicBezTo>
                  <a:cubicBezTo>
                    <a:pt x="4669" y="2140"/>
                    <a:pt x="4656" y="2117"/>
                    <a:pt x="4652" y="2109"/>
                  </a:cubicBezTo>
                  <a:cubicBezTo>
                    <a:pt x="4626" y="2229"/>
                    <a:pt x="4626" y="2229"/>
                    <a:pt x="4626" y="2229"/>
                  </a:cubicBezTo>
                  <a:cubicBezTo>
                    <a:pt x="4554" y="2229"/>
                    <a:pt x="4554" y="2229"/>
                    <a:pt x="4554" y="2229"/>
                  </a:cubicBezTo>
                  <a:cubicBezTo>
                    <a:pt x="4625" y="1894"/>
                    <a:pt x="4625" y="1894"/>
                    <a:pt x="4625" y="1894"/>
                  </a:cubicBezTo>
                  <a:lnTo>
                    <a:pt x="4694" y="1894"/>
                  </a:lnTo>
                  <a:close/>
                  <a:moveTo>
                    <a:pt x="4774" y="2013"/>
                  </a:moveTo>
                  <a:cubicBezTo>
                    <a:pt x="4780" y="1984"/>
                    <a:pt x="4783" y="1935"/>
                    <a:pt x="4741" y="1935"/>
                  </a:cubicBezTo>
                  <a:cubicBezTo>
                    <a:pt x="4718" y="1935"/>
                    <a:pt x="4682" y="1952"/>
                    <a:pt x="4668" y="2017"/>
                  </a:cubicBezTo>
                  <a:cubicBezTo>
                    <a:pt x="4665" y="2031"/>
                    <a:pt x="4652" y="2093"/>
                    <a:pt x="4705" y="2093"/>
                  </a:cubicBezTo>
                  <a:cubicBezTo>
                    <a:pt x="4738" y="2093"/>
                    <a:pt x="4763" y="2061"/>
                    <a:pt x="4774" y="2013"/>
                  </a:cubicBezTo>
                  <a:moveTo>
                    <a:pt x="4936" y="1789"/>
                  </a:moveTo>
                  <a:cubicBezTo>
                    <a:pt x="5007" y="1789"/>
                    <a:pt x="5007" y="1789"/>
                    <a:pt x="5007" y="1789"/>
                  </a:cubicBezTo>
                  <a:cubicBezTo>
                    <a:pt x="4933" y="2136"/>
                    <a:pt x="4933" y="2136"/>
                    <a:pt x="4933" y="2136"/>
                  </a:cubicBezTo>
                  <a:cubicBezTo>
                    <a:pt x="4862" y="2136"/>
                    <a:pt x="4862" y="2136"/>
                    <a:pt x="4862" y="2136"/>
                  </a:cubicBezTo>
                  <a:lnTo>
                    <a:pt x="4936" y="1789"/>
                  </a:lnTo>
                  <a:close/>
                  <a:moveTo>
                    <a:pt x="5068" y="2033"/>
                  </a:moveTo>
                  <a:cubicBezTo>
                    <a:pt x="5064" y="2049"/>
                    <a:pt x="5054" y="2098"/>
                    <a:pt x="5104" y="2098"/>
                  </a:cubicBezTo>
                  <a:cubicBezTo>
                    <a:pt x="5121" y="2098"/>
                    <a:pt x="5140" y="2091"/>
                    <a:pt x="5153" y="2064"/>
                  </a:cubicBezTo>
                  <a:cubicBezTo>
                    <a:pt x="5218" y="2064"/>
                    <a:pt x="5218" y="2064"/>
                    <a:pt x="5218" y="2064"/>
                  </a:cubicBezTo>
                  <a:cubicBezTo>
                    <a:pt x="5214" y="2076"/>
                    <a:pt x="5208" y="2097"/>
                    <a:pt x="5184" y="2117"/>
                  </a:cubicBezTo>
                  <a:cubicBezTo>
                    <a:pt x="5162" y="2136"/>
                    <a:pt x="5128" y="2145"/>
                    <a:pt x="5092" y="2145"/>
                  </a:cubicBezTo>
                  <a:cubicBezTo>
                    <a:pt x="5072" y="2145"/>
                    <a:pt x="5033" y="2142"/>
                    <a:pt x="5013" y="2115"/>
                  </a:cubicBezTo>
                  <a:cubicBezTo>
                    <a:pt x="4996" y="2092"/>
                    <a:pt x="4994" y="2060"/>
                    <a:pt x="5002" y="2021"/>
                  </a:cubicBezTo>
                  <a:cubicBezTo>
                    <a:pt x="5011" y="1981"/>
                    <a:pt x="5030" y="1934"/>
                    <a:pt x="5077" y="1906"/>
                  </a:cubicBezTo>
                  <a:cubicBezTo>
                    <a:pt x="5099" y="1893"/>
                    <a:pt x="5123" y="1886"/>
                    <a:pt x="5150" y="1886"/>
                  </a:cubicBezTo>
                  <a:cubicBezTo>
                    <a:pt x="5184" y="1886"/>
                    <a:pt x="5222" y="1899"/>
                    <a:pt x="5235" y="1944"/>
                  </a:cubicBezTo>
                  <a:cubicBezTo>
                    <a:pt x="5244" y="1977"/>
                    <a:pt x="5236" y="2013"/>
                    <a:pt x="5231" y="2033"/>
                  </a:cubicBezTo>
                  <a:lnTo>
                    <a:pt x="5068" y="2033"/>
                  </a:lnTo>
                  <a:close/>
                  <a:moveTo>
                    <a:pt x="5167" y="1988"/>
                  </a:moveTo>
                  <a:cubicBezTo>
                    <a:pt x="5170" y="1977"/>
                    <a:pt x="5178" y="1934"/>
                    <a:pt x="5137" y="1934"/>
                  </a:cubicBezTo>
                  <a:cubicBezTo>
                    <a:pt x="5105" y="1934"/>
                    <a:pt x="5087" y="1960"/>
                    <a:pt x="5080" y="1988"/>
                  </a:cubicBezTo>
                  <a:lnTo>
                    <a:pt x="5167" y="1988"/>
                  </a:lnTo>
                  <a:close/>
                  <a:moveTo>
                    <a:pt x="5353" y="1894"/>
                  </a:moveTo>
                  <a:cubicBezTo>
                    <a:pt x="5382" y="1973"/>
                    <a:pt x="5382" y="1973"/>
                    <a:pt x="5382" y="1973"/>
                  </a:cubicBezTo>
                  <a:cubicBezTo>
                    <a:pt x="5447" y="1894"/>
                    <a:pt x="5447" y="1894"/>
                    <a:pt x="5447" y="1894"/>
                  </a:cubicBezTo>
                  <a:cubicBezTo>
                    <a:pt x="5520" y="1894"/>
                    <a:pt x="5520" y="1894"/>
                    <a:pt x="5520" y="1894"/>
                  </a:cubicBezTo>
                  <a:cubicBezTo>
                    <a:pt x="5417" y="2012"/>
                    <a:pt x="5417" y="2012"/>
                    <a:pt x="5417" y="2012"/>
                  </a:cubicBezTo>
                  <a:cubicBezTo>
                    <a:pt x="5471" y="2136"/>
                    <a:pt x="5471" y="2136"/>
                    <a:pt x="5471" y="2136"/>
                  </a:cubicBezTo>
                  <a:cubicBezTo>
                    <a:pt x="5388" y="2136"/>
                    <a:pt x="5388" y="2136"/>
                    <a:pt x="5388" y="2136"/>
                  </a:cubicBezTo>
                  <a:cubicBezTo>
                    <a:pt x="5357" y="2047"/>
                    <a:pt x="5357" y="2047"/>
                    <a:pt x="5357" y="2047"/>
                  </a:cubicBezTo>
                  <a:cubicBezTo>
                    <a:pt x="5289" y="2136"/>
                    <a:pt x="5289" y="2136"/>
                    <a:pt x="5289" y="2136"/>
                  </a:cubicBezTo>
                  <a:cubicBezTo>
                    <a:pt x="5214" y="2136"/>
                    <a:pt x="5214" y="2136"/>
                    <a:pt x="5214" y="2136"/>
                  </a:cubicBezTo>
                  <a:cubicBezTo>
                    <a:pt x="5323" y="2006"/>
                    <a:pt x="5323" y="2006"/>
                    <a:pt x="5323" y="2006"/>
                  </a:cubicBezTo>
                  <a:cubicBezTo>
                    <a:pt x="5269" y="1894"/>
                    <a:pt x="5269" y="1894"/>
                    <a:pt x="5269" y="1894"/>
                  </a:cubicBezTo>
                  <a:lnTo>
                    <a:pt x="5353" y="1894"/>
                  </a:lnTo>
                  <a:close/>
                  <a:moveTo>
                    <a:pt x="5553" y="1893"/>
                  </a:moveTo>
                  <a:cubicBezTo>
                    <a:pt x="5625" y="1893"/>
                    <a:pt x="5625" y="1893"/>
                    <a:pt x="5625" y="1893"/>
                  </a:cubicBezTo>
                  <a:cubicBezTo>
                    <a:pt x="5573" y="2136"/>
                    <a:pt x="5573" y="2136"/>
                    <a:pt x="5573" y="2136"/>
                  </a:cubicBezTo>
                  <a:cubicBezTo>
                    <a:pt x="5501" y="2136"/>
                    <a:pt x="5501" y="2136"/>
                    <a:pt x="5501" y="2136"/>
                  </a:cubicBezTo>
                  <a:lnTo>
                    <a:pt x="5553" y="1893"/>
                  </a:lnTo>
                  <a:close/>
                  <a:moveTo>
                    <a:pt x="5573" y="1790"/>
                  </a:moveTo>
                  <a:cubicBezTo>
                    <a:pt x="5648" y="1790"/>
                    <a:pt x="5648" y="1790"/>
                    <a:pt x="5648" y="1790"/>
                  </a:cubicBezTo>
                  <a:cubicBezTo>
                    <a:pt x="5636" y="1851"/>
                    <a:pt x="5636" y="1851"/>
                    <a:pt x="5636" y="1851"/>
                  </a:cubicBezTo>
                  <a:cubicBezTo>
                    <a:pt x="5560" y="1851"/>
                    <a:pt x="5560" y="1851"/>
                    <a:pt x="5560" y="1851"/>
                  </a:cubicBezTo>
                  <a:lnTo>
                    <a:pt x="5573" y="1790"/>
                  </a:lnTo>
                  <a:close/>
                  <a:moveTo>
                    <a:pt x="5775" y="2133"/>
                  </a:moveTo>
                  <a:cubicBezTo>
                    <a:pt x="5752" y="2139"/>
                    <a:pt x="5730" y="2141"/>
                    <a:pt x="5719" y="2141"/>
                  </a:cubicBezTo>
                  <a:cubicBezTo>
                    <a:pt x="5647" y="2141"/>
                    <a:pt x="5657" y="2095"/>
                    <a:pt x="5662" y="2075"/>
                  </a:cubicBezTo>
                  <a:cubicBezTo>
                    <a:pt x="5689" y="1942"/>
                    <a:pt x="5689" y="1942"/>
                    <a:pt x="5689" y="1942"/>
                  </a:cubicBezTo>
                  <a:cubicBezTo>
                    <a:pt x="5643" y="1942"/>
                    <a:pt x="5643" y="1942"/>
                    <a:pt x="5643" y="1942"/>
                  </a:cubicBezTo>
                  <a:cubicBezTo>
                    <a:pt x="5653" y="1895"/>
                    <a:pt x="5653" y="1895"/>
                    <a:pt x="5653" y="1895"/>
                  </a:cubicBezTo>
                  <a:cubicBezTo>
                    <a:pt x="5700" y="1895"/>
                    <a:pt x="5700" y="1895"/>
                    <a:pt x="5700" y="1895"/>
                  </a:cubicBezTo>
                  <a:cubicBezTo>
                    <a:pt x="5710" y="1848"/>
                    <a:pt x="5710" y="1848"/>
                    <a:pt x="5710" y="1848"/>
                  </a:cubicBezTo>
                  <a:cubicBezTo>
                    <a:pt x="5786" y="1822"/>
                    <a:pt x="5786" y="1822"/>
                    <a:pt x="5786" y="1822"/>
                  </a:cubicBezTo>
                  <a:cubicBezTo>
                    <a:pt x="5770" y="1895"/>
                    <a:pt x="5770" y="1895"/>
                    <a:pt x="5770" y="1895"/>
                  </a:cubicBezTo>
                  <a:cubicBezTo>
                    <a:pt x="5828" y="1895"/>
                    <a:pt x="5828" y="1895"/>
                    <a:pt x="5828" y="1895"/>
                  </a:cubicBezTo>
                  <a:cubicBezTo>
                    <a:pt x="5818" y="1942"/>
                    <a:pt x="5818" y="1942"/>
                    <a:pt x="5818" y="1942"/>
                  </a:cubicBezTo>
                  <a:cubicBezTo>
                    <a:pt x="5760" y="1942"/>
                    <a:pt x="5760" y="1942"/>
                    <a:pt x="5760" y="1942"/>
                  </a:cubicBezTo>
                  <a:cubicBezTo>
                    <a:pt x="5736" y="2052"/>
                    <a:pt x="5736" y="2052"/>
                    <a:pt x="5736" y="2052"/>
                  </a:cubicBezTo>
                  <a:cubicBezTo>
                    <a:pt x="5733" y="2074"/>
                    <a:pt x="5729" y="2088"/>
                    <a:pt x="5761" y="2088"/>
                  </a:cubicBezTo>
                  <a:cubicBezTo>
                    <a:pt x="5772" y="2088"/>
                    <a:pt x="5777" y="2087"/>
                    <a:pt x="5786" y="2086"/>
                  </a:cubicBezTo>
                  <a:lnTo>
                    <a:pt x="5775" y="2133"/>
                  </a:lnTo>
                  <a:close/>
                  <a:moveTo>
                    <a:pt x="5921" y="1894"/>
                  </a:moveTo>
                  <a:cubicBezTo>
                    <a:pt x="5939" y="2062"/>
                    <a:pt x="5939" y="2062"/>
                    <a:pt x="5939" y="2062"/>
                  </a:cubicBezTo>
                  <a:cubicBezTo>
                    <a:pt x="6028" y="1894"/>
                    <a:pt x="6028" y="1894"/>
                    <a:pt x="6028" y="1894"/>
                  </a:cubicBezTo>
                  <a:cubicBezTo>
                    <a:pt x="6099" y="1894"/>
                    <a:pt x="6099" y="1894"/>
                    <a:pt x="6099" y="1894"/>
                  </a:cubicBezTo>
                  <a:cubicBezTo>
                    <a:pt x="5957" y="2132"/>
                    <a:pt x="5957" y="2132"/>
                    <a:pt x="5957" y="2132"/>
                  </a:cubicBezTo>
                  <a:cubicBezTo>
                    <a:pt x="5907" y="2229"/>
                    <a:pt x="5907" y="2229"/>
                    <a:pt x="5907" y="2229"/>
                  </a:cubicBezTo>
                  <a:cubicBezTo>
                    <a:pt x="5835" y="2229"/>
                    <a:pt x="5835" y="2229"/>
                    <a:pt x="5835" y="2229"/>
                  </a:cubicBezTo>
                  <a:cubicBezTo>
                    <a:pt x="5886" y="2137"/>
                    <a:pt x="5886" y="2137"/>
                    <a:pt x="5886" y="2137"/>
                  </a:cubicBezTo>
                  <a:cubicBezTo>
                    <a:pt x="5844" y="1894"/>
                    <a:pt x="5844" y="1894"/>
                    <a:pt x="5844" y="1894"/>
                  </a:cubicBezTo>
                  <a:lnTo>
                    <a:pt x="5921" y="1894"/>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noAutofit/>
            </a:bodyPr>
            <a:lstStyle/>
            <a:p>
              <a:pPr algn="ctr" defTabSz="685783"/>
              <a:endParaRPr lang="en-GB">
                <a:solidFill>
                  <a:srgbClr val="000000"/>
                </a:solidFill>
                <a:cs typeface="Arial" charset="0"/>
              </a:endParaRPr>
            </a:p>
          </p:txBody>
        </p:sp>
        <p:sp>
          <p:nvSpPr>
            <p:cNvPr id="13" name="Freeform 15"/>
            <p:cNvSpPr>
              <a:spLocks noChangeAspect="1" noEditPoints="1"/>
            </p:cNvSpPr>
            <p:nvPr userDrawn="1"/>
          </p:nvSpPr>
          <p:spPr bwMode="hidden">
            <a:xfrm>
              <a:off x="128464" y="1"/>
              <a:ext cx="2160000" cy="1275101"/>
            </a:xfrm>
            <a:custGeom>
              <a:avLst/>
              <a:gdLst/>
              <a:ahLst/>
              <a:cxnLst>
                <a:cxn ang="0">
                  <a:pos x="176" y="248"/>
                </a:cxn>
                <a:cxn ang="0">
                  <a:pos x="0" y="248"/>
                </a:cxn>
                <a:cxn ang="0">
                  <a:pos x="0" y="0"/>
                </a:cxn>
                <a:cxn ang="0">
                  <a:pos x="176" y="0"/>
                </a:cxn>
                <a:cxn ang="0">
                  <a:pos x="176" y="248"/>
                </a:cxn>
                <a:cxn ang="0">
                  <a:pos x="176" y="716"/>
                </a:cxn>
                <a:cxn ang="0">
                  <a:pos x="0" y="716"/>
                </a:cxn>
                <a:cxn ang="0">
                  <a:pos x="0" y="964"/>
                </a:cxn>
                <a:cxn ang="0">
                  <a:pos x="176" y="964"/>
                </a:cxn>
                <a:cxn ang="0">
                  <a:pos x="176" y="716"/>
                </a:cxn>
                <a:cxn ang="0">
                  <a:pos x="1633" y="0"/>
                </a:cxn>
                <a:cxn ang="0">
                  <a:pos x="1457" y="0"/>
                </a:cxn>
                <a:cxn ang="0">
                  <a:pos x="1457" y="248"/>
                </a:cxn>
                <a:cxn ang="0">
                  <a:pos x="1633" y="248"/>
                </a:cxn>
                <a:cxn ang="0">
                  <a:pos x="1633" y="0"/>
                </a:cxn>
                <a:cxn ang="0">
                  <a:pos x="1633" y="716"/>
                </a:cxn>
                <a:cxn ang="0">
                  <a:pos x="1457" y="716"/>
                </a:cxn>
                <a:cxn ang="0">
                  <a:pos x="1457" y="964"/>
                </a:cxn>
                <a:cxn ang="0">
                  <a:pos x="1633" y="964"/>
                </a:cxn>
                <a:cxn ang="0">
                  <a:pos x="1633" y="716"/>
                </a:cxn>
              </a:cxnLst>
              <a:rect l="0" t="0" r="r" b="b"/>
              <a:pathLst>
                <a:path w="1633" h="964">
                  <a:moveTo>
                    <a:pt x="176" y="248"/>
                  </a:moveTo>
                  <a:lnTo>
                    <a:pt x="0" y="248"/>
                  </a:lnTo>
                  <a:lnTo>
                    <a:pt x="0" y="0"/>
                  </a:lnTo>
                  <a:lnTo>
                    <a:pt x="176" y="0"/>
                  </a:lnTo>
                  <a:lnTo>
                    <a:pt x="176" y="248"/>
                  </a:lnTo>
                  <a:close/>
                  <a:moveTo>
                    <a:pt x="176" y="716"/>
                  </a:moveTo>
                  <a:lnTo>
                    <a:pt x="0" y="716"/>
                  </a:lnTo>
                  <a:lnTo>
                    <a:pt x="0" y="964"/>
                  </a:lnTo>
                  <a:lnTo>
                    <a:pt x="176" y="964"/>
                  </a:lnTo>
                  <a:lnTo>
                    <a:pt x="176" y="716"/>
                  </a:lnTo>
                  <a:close/>
                  <a:moveTo>
                    <a:pt x="1633" y="0"/>
                  </a:moveTo>
                  <a:lnTo>
                    <a:pt x="1457" y="0"/>
                  </a:lnTo>
                  <a:lnTo>
                    <a:pt x="1457" y="248"/>
                  </a:lnTo>
                  <a:lnTo>
                    <a:pt x="1633" y="248"/>
                  </a:lnTo>
                  <a:lnTo>
                    <a:pt x="1633" y="0"/>
                  </a:lnTo>
                  <a:close/>
                  <a:moveTo>
                    <a:pt x="1633" y="716"/>
                  </a:moveTo>
                  <a:lnTo>
                    <a:pt x="1457" y="716"/>
                  </a:lnTo>
                  <a:lnTo>
                    <a:pt x="1457" y="964"/>
                  </a:lnTo>
                  <a:lnTo>
                    <a:pt x="1633" y="964"/>
                  </a:lnTo>
                  <a:lnTo>
                    <a:pt x="1633" y="716"/>
                  </a:lnTo>
                  <a:close/>
                </a:path>
              </a:pathLst>
            </a:custGeom>
            <a:noFill/>
            <a:ln w="9525">
              <a:noFill/>
              <a:round/>
              <a:headEnd/>
              <a:tailEnd/>
            </a:ln>
          </p:spPr>
          <p:txBody>
            <a:bodyPr vert="horz" wrap="square" lIns="91440" tIns="45720" rIns="91440" bIns="45720" numCol="1" anchor="t" anchorCtr="0" compatLnSpc="1">
              <a:prstTxWarp prst="textNoShape">
                <a:avLst/>
              </a:prstTxWarp>
              <a:noAutofit/>
            </a:bodyPr>
            <a:lstStyle/>
            <a:p>
              <a:pPr algn="ctr" defTabSz="685783"/>
              <a:endParaRPr lang="en-GB" dirty="0">
                <a:solidFill>
                  <a:srgbClr val="000000"/>
                </a:solidFill>
                <a:cs typeface="Arial" charset="0"/>
              </a:endParaRPr>
            </a:p>
          </p:txBody>
        </p:sp>
      </p:grpSp>
    </p:spTree>
    <p:extLst>
      <p:ext uri="{BB962C8B-B14F-4D97-AF65-F5344CB8AC3E}">
        <p14:creationId xmlns:p14="http://schemas.microsoft.com/office/powerpoint/2010/main" val="222926990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pic>
        <p:nvPicPr>
          <p:cNvPr id="11" name="Picture 10" descr="widescreen_cover3.jpg"/>
          <p:cNvPicPr>
            <a:picLocks noChangeAspect="1"/>
          </p:cNvPicPr>
          <p:nvPr userDrawn="1"/>
        </p:nvPicPr>
        <p:blipFill>
          <a:blip r:embed="rId2" cstate="print"/>
          <a:stretch>
            <a:fillRect/>
          </a:stretch>
        </p:blipFill>
        <p:spPr>
          <a:xfrm>
            <a:off x="6764" y="0"/>
            <a:ext cx="9130473" cy="5143500"/>
          </a:xfrm>
          <a:prstGeom prst="rect">
            <a:avLst/>
          </a:prstGeom>
        </p:spPr>
      </p:pic>
      <p:sp>
        <p:nvSpPr>
          <p:cNvPr id="65551" name="Freeform 15"/>
          <p:cNvSpPr>
            <a:spLocks noChangeAspect="1"/>
          </p:cNvSpPr>
          <p:nvPr userDrawn="1"/>
        </p:nvSpPr>
        <p:spPr bwMode="gray">
          <a:xfrm>
            <a:off x="0" y="412624"/>
            <a:ext cx="4451350" cy="3599339"/>
          </a:xfrm>
          <a:custGeom>
            <a:avLst/>
            <a:gdLst/>
            <a:ahLst/>
            <a:cxnLst>
              <a:cxn ang="0">
                <a:pos x="336" y="0"/>
              </a:cxn>
              <a:cxn ang="0">
                <a:pos x="0" y="1134"/>
              </a:cxn>
              <a:cxn ang="0">
                <a:pos x="0" y="2268"/>
              </a:cxn>
              <a:cxn ang="0">
                <a:pos x="2132" y="2268"/>
              </a:cxn>
              <a:cxn ang="0">
                <a:pos x="2804" y="0"/>
              </a:cxn>
              <a:cxn ang="0">
                <a:pos x="336" y="0"/>
              </a:cxn>
            </a:cxnLst>
            <a:rect l="0" t="0" r="r" b="b"/>
            <a:pathLst>
              <a:path w="2804" h="2268">
                <a:moveTo>
                  <a:pt x="336" y="0"/>
                </a:moveTo>
                <a:lnTo>
                  <a:pt x="0" y="1134"/>
                </a:lnTo>
                <a:lnTo>
                  <a:pt x="0" y="2268"/>
                </a:lnTo>
                <a:lnTo>
                  <a:pt x="2132" y="2268"/>
                </a:lnTo>
                <a:lnTo>
                  <a:pt x="2804" y="0"/>
                </a:lnTo>
                <a:lnTo>
                  <a:pt x="336" y="0"/>
                </a:lnTo>
                <a:close/>
              </a:path>
            </a:pathLst>
          </a:custGeom>
          <a:gradFill rotWithShape="1">
            <a:gsLst>
              <a:gs pos="0">
                <a:srgbClr val="00257A">
                  <a:alpha val="89999"/>
                </a:srgbClr>
              </a:gs>
              <a:gs pos="35001">
                <a:srgbClr val="00338D">
                  <a:alpha val="89999"/>
                </a:srgbClr>
              </a:gs>
              <a:gs pos="100000">
                <a:srgbClr val="009FDA">
                  <a:alpha val="89999"/>
                </a:srgbClr>
              </a:gs>
            </a:gsLst>
            <a:lin ang="0" scaled="1"/>
          </a:gradFill>
          <a:ln w="9525" cap="flat" cmpd="sng">
            <a:noFill/>
            <a:prstDash val="solid"/>
            <a:round/>
            <a:headEnd type="none" w="med" len="med"/>
            <a:tailEnd type="none" w="med" len="med"/>
          </a:ln>
          <a:effectLst/>
        </p:spPr>
        <p:txBody>
          <a:bodyPr lIns="68579" tIns="34289" rIns="68579" bIns="34289">
            <a:noAutofit/>
          </a:bodyPr>
          <a:lstStyle/>
          <a:p>
            <a:pPr algn="ctr" defTabSz="685783"/>
            <a:endParaRPr lang="en-GB">
              <a:solidFill>
                <a:srgbClr val="000000"/>
              </a:solidFill>
              <a:cs typeface="Arial" charset="0"/>
            </a:endParaRPr>
          </a:p>
        </p:txBody>
      </p:sp>
      <p:sp>
        <p:nvSpPr>
          <p:cNvPr id="65543" name="Text Placeholder 50"/>
          <p:cNvSpPr>
            <a:spLocks noGrp="1"/>
          </p:cNvSpPr>
          <p:nvPr>
            <p:ph type="subTitle" idx="1"/>
          </p:nvPr>
        </p:nvSpPr>
        <p:spPr>
          <a:xfrm>
            <a:off x="684213" y="3004213"/>
            <a:ext cx="2735262" cy="791675"/>
          </a:xfrm>
        </p:spPr>
        <p:txBody>
          <a:bodyPr>
            <a:noAutofit/>
          </a:bodyPr>
          <a:lstStyle>
            <a:lvl1pPr>
              <a:defRPr sz="1200" b="0">
                <a:solidFill>
                  <a:schemeClr val="bg1"/>
                </a:solidFill>
              </a:defRPr>
            </a:lvl1pPr>
          </a:lstStyle>
          <a:p>
            <a:r>
              <a:rPr lang="en-US"/>
              <a:t>Click to edit Master subtitle style</a:t>
            </a:r>
            <a:endParaRPr lang="en-US" dirty="0"/>
          </a:p>
        </p:txBody>
      </p:sp>
      <p:sp>
        <p:nvSpPr>
          <p:cNvPr id="65545" name="Title Placeholder 45"/>
          <p:cNvSpPr>
            <a:spLocks noGrp="1"/>
          </p:cNvSpPr>
          <p:nvPr>
            <p:ph type="ctrTitle"/>
          </p:nvPr>
        </p:nvSpPr>
        <p:spPr>
          <a:xfrm>
            <a:off x="684213" y="1347375"/>
            <a:ext cx="3022600" cy="1440401"/>
          </a:xfrm>
        </p:spPr>
        <p:txBody>
          <a:bodyPr anchor="t">
            <a:noAutofit/>
          </a:bodyPr>
          <a:lstStyle>
            <a:lvl1pPr>
              <a:defRPr sz="3000"/>
            </a:lvl1pPr>
          </a:lstStyle>
          <a:p>
            <a:r>
              <a:rPr lang="en-US"/>
              <a:t>Click to edit Master title style</a:t>
            </a:r>
            <a:endParaRPr lang="en-US" dirty="0"/>
          </a:p>
        </p:txBody>
      </p:sp>
      <p:grpSp>
        <p:nvGrpSpPr>
          <p:cNvPr id="8" name="Group 7"/>
          <p:cNvGrpSpPr>
            <a:grpSpLocks noChangeAspect="1"/>
          </p:cNvGrpSpPr>
          <p:nvPr userDrawn="1"/>
        </p:nvGrpSpPr>
        <p:grpSpPr>
          <a:xfrm>
            <a:off x="539554" y="410400"/>
            <a:ext cx="1585568" cy="936000"/>
            <a:chOff x="128464" y="1"/>
            <a:chExt cx="2160000" cy="1275101"/>
          </a:xfrm>
        </p:grpSpPr>
        <p:sp>
          <p:nvSpPr>
            <p:cNvPr id="9" name="Freeform 14"/>
            <p:cNvSpPr>
              <a:spLocks noChangeAspect="1" noEditPoints="1"/>
            </p:cNvSpPr>
            <p:nvPr userDrawn="1"/>
          </p:nvSpPr>
          <p:spPr bwMode="white">
            <a:xfrm>
              <a:off x="301741" y="328035"/>
              <a:ext cx="1765830" cy="646810"/>
            </a:xfrm>
            <a:custGeom>
              <a:avLst/>
              <a:gdLst/>
              <a:ahLst/>
              <a:cxnLst>
                <a:cxn ang="0">
                  <a:pos x="2851" y="1035"/>
                </a:cxn>
                <a:cxn ang="0">
                  <a:pos x="3588" y="28"/>
                </a:cxn>
                <a:cxn ang="0">
                  <a:pos x="2718" y="826"/>
                </a:cxn>
                <a:cxn ang="0">
                  <a:pos x="1973" y="28"/>
                </a:cxn>
                <a:cxn ang="0">
                  <a:pos x="1663" y="659"/>
                </a:cxn>
                <a:cxn ang="0">
                  <a:pos x="1850" y="28"/>
                </a:cxn>
                <a:cxn ang="0">
                  <a:pos x="1165" y="1000"/>
                </a:cxn>
                <a:cxn ang="0">
                  <a:pos x="1334" y="806"/>
                </a:cxn>
                <a:cxn ang="0">
                  <a:pos x="479" y="1047"/>
                </a:cxn>
                <a:cxn ang="0">
                  <a:pos x="980" y="699"/>
                </a:cxn>
                <a:cxn ang="0">
                  <a:pos x="2747" y="0"/>
                </a:cxn>
                <a:cxn ang="0">
                  <a:pos x="1009" y="0"/>
                </a:cxn>
                <a:cxn ang="0">
                  <a:pos x="665" y="1435"/>
                </a:cxn>
                <a:cxn ang="0">
                  <a:pos x="1150" y="1133"/>
                </a:cxn>
                <a:cxn ang="0">
                  <a:pos x="1980" y="1434"/>
                </a:cxn>
                <a:cxn ang="0">
                  <a:pos x="2963" y="1451"/>
                </a:cxn>
                <a:cxn ang="0">
                  <a:pos x="348" y="2092"/>
                </a:cxn>
                <a:cxn ang="0">
                  <a:pos x="395" y="2104"/>
                </a:cxn>
                <a:cxn ang="0">
                  <a:pos x="880" y="1895"/>
                </a:cxn>
                <a:cxn ang="0">
                  <a:pos x="584" y="1895"/>
                </a:cxn>
                <a:cxn ang="0">
                  <a:pos x="645" y="2088"/>
                </a:cxn>
                <a:cxn ang="0">
                  <a:pos x="813" y="2088"/>
                </a:cxn>
                <a:cxn ang="0">
                  <a:pos x="935" y="1790"/>
                </a:cxn>
                <a:cxn ang="0">
                  <a:pos x="1104" y="1929"/>
                </a:cxn>
                <a:cxn ang="0">
                  <a:pos x="1151" y="1938"/>
                </a:cxn>
                <a:cxn ang="0">
                  <a:pos x="1504" y="2134"/>
                </a:cxn>
                <a:cxn ang="0">
                  <a:pos x="1370" y="2132"/>
                </a:cxn>
                <a:cxn ang="0">
                  <a:pos x="1428" y="1940"/>
                </a:cxn>
                <a:cxn ang="0">
                  <a:pos x="1719" y="1895"/>
                </a:cxn>
                <a:cxn ang="0">
                  <a:pos x="1803" y="2052"/>
                </a:cxn>
                <a:cxn ang="0">
                  <a:pos x="2137" y="1923"/>
                </a:cxn>
                <a:cxn ang="0">
                  <a:pos x="1881" y="2136"/>
                </a:cxn>
                <a:cxn ang="0">
                  <a:pos x="2253" y="2017"/>
                </a:cxn>
                <a:cxn ang="0">
                  <a:pos x="2503" y="1888"/>
                </a:cxn>
                <a:cxn ang="0">
                  <a:pos x="2740" y="2092"/>
                </a:cxn>
                <a:cxn ang="0">
                  <a:pos x="2787" y="2104"/>
                </a:cxn>
                <a:cxn ang="0">
                  <a:pos x="3126" y="2134"/>
                </a:cxn>
                <a:cxn ang="0">
                  <a:pos x="2992" y="2132"/>
                </a:cxn>
                <a:cxn ang="0">
                  <a:pos x="3051" y="1940"/>
                </a:cxn>
                <a:cxn ang="0">
                  <a:pos x="3441" y="1989"/>
                </a:cxn>
                <a:cxn ang="0">
                  <a:pos x="3257" y="1790"/>
                </a:cxn>
                <a:cxn ang="0">
                  <a:pos x="168" y="2120"/>
                </a:cxn>
                <a:cxn ang="0">
                  <a:pos x="3742" y="1935"/>
                </a:cxn>
                <a:cxn ang="0">
                  <a:pos x="3624" y="2110"/>
                </a:cxn>
                <a:cxn ang="0">
                  <a:pos x="3857" y="2017"/>
                </a:cxn>
                <a:cxn ang="0">
                  <a:pos x="4180" y="1894"/>
                </a:cxn>
                <a:cxn ang="0">
                  <a:pos x="4515" y="2136"/>
                </a:cxn>
                <a:cxn ang="0">
                  <a:pos x="4289" y="1939"/>
                </a:cxn>
                <a:cxn ang="0">
                  <a:pos x="4846" y="2010"/>
                </a:cxn>
                <a:cxn ang="0">
                  <a:pos x="4741" y="1935"/>
                </a:cxn>
                <a:cxn ang="0">
                  <a:pos x="4936" y="1789"/>
                </a:cxn>
                <a:cxn ang="0">
                  <a:pos x="5002" y="2021"/>
                </a:cxn>
                <a:cxn ang="0">
                  <a:pos x="5080" y="1988"/>
                </a:cxn>
                <a:cxn ang="0">
                  <a:pos x="5388" y="2136"/>
                </a:cxn>
                <a:cxn ang="0">
                  <a:pos x="5625" y="1893"/>
                </a:cxn>
                <a:cxn ang="0">
                  <a:pos x="5573" y="1790"/>
                </a:cxn>
                <a:cxn ang="0">
                  <a:pos x="5710" y="1848"/>
                </a:cxn>
                <a:cxn ang="0">
                  <a:pos x="5786" y="2086"/>
                </a:cxn>
                <a:cxn ang="0">
                  <a:pos x="5835" y="2229"/>
                </a:cxn>
              </a:cxnLst>
              <a:rect l="0" t="0" r="r" b="b"/>
              <a:pathLst>
                <a:path w="6099" h="2232">
                  <a:moveTo>
                    <a:pt x="3588" y="1105"/>
                  </a:moveTo>
                  <a:cubicBezTo>
                    <a:pt x="3401" y="1105"/>
                    <a:pt x="3401" y="1105"/>
                    <a:pt x="3401" y="1105"/>
                  </a:cubicBezTo>
                  <a:cubicBezTo>
                    <a:pt x="3431" y="981"/>
                    <a:pt x="3431" y="981"/>
                    <a:pt x="3431" y="981"/>
                  </a:cubicBezTo>
                  <a:cubicBezTo>
                    <a:pt x="3055" y="981"/>
                    <a:pt x="3055" y="981"/>
                    <a:pt x="3055" y="981"/>
                  </a:cubicBezTo>
                  <a:cubicBezTo>
                    <a:pt x="3024" y="1105"/>
                    <a:pt x="3024" y="1105"/>
                    <a:pt x="3024" y="1105"/>
                  </a:cubicBezTo>
                  <a:cubicBezTo>
                    <a:pt x="2843" y="1105"/>
                    <a:pt x="2843" y="1105"/>
                    <a:pt x="2843" y="1105"/>
                  </a:cubicBezTo>
                  <a:cubicBezTo>
                    <a:pt x="2843" y="1079"/>
                    <a:pt x="2843" y="1079"/>
                    <a:pt x="2843" y="1079"/>
                  </a:cubicBezTo>
                  <a:cubicBezTo>
                    <a:pt x="2845" y="1065"/>
                    <a:pt x="2848" y="1051"/>
                    <a:pt x="2851" y="1035"/>
                  </a:cubicBezTo>
                  <a:cubicBezTo>
                    <a:pt x="2884" y="901"/>
                    <a:pt x="2972" y="769"/>
                    <a:pt x="3124" y="769"/>
                  </a:cubicBezTo>
                  <a:cubicBezTo>
                    <a:pt x="3185" y="769"/>
                    <a:pt x="3244" y="792"/>
                    <a:pt x="3236" y="875"/>
                  </a:cubicBezTo>
                  <a:cubicBezTo>
                    <a:pt x="3460" y="875"/>
                    <a:pt x="3460" y="875"/>
                    <a:pt x="3460" y="875"/>
                  </a:cubicBezTo>
                  <a:cubicBezTo>
                    <a:pt x="3469" y="836"/>
                    <a:pt x="3484" y="770"/>
                    <a:pt x="3441" y="709"/>
                  </a:cubicBezTo>
                  <a:cubicBezTo>
                    <a:pt x="3394" y="643"/>
                    <a:pt x="3298" y="616"/>
                    <a:pt x="3173" y="616"/>
                  </a:cubicBezTo>
                  <a:cubicBezTo>
                    <a:pt x="3084" y="616"/>
                    <a:pt x="2955" y="631"/>
                    <a:pt x="2843" y="704"/>
                  </a:cubicBezTo>
                  <a:cubicBezTo>
                    <a:pt x="2843" y="28"/>
                    <a:pt x="2843" y="28"/>
                    <a:pt x="2843" y="28"/>
                  </a:cubicBezTo>
                  <a:cubicBezTo>
                    <a:pt x="3588" y="28"/>
                    <a:pt x="3588" y="28"/>
                    <a:pt x="3588" y="28"/>
                  </a:cubicBezTo>
                  <a:lnTo>
                    <a:pt x="3588" y="1105"/>
                  </a:lnTo>
                  <a:close/>
                  <a:moveTo>
                    <a:pt x="3148" y="1287"/>
                  </a:moveTo>
                  <a:cubicBezTo>
                    <a:pt x="3106" y="1294"/>
                    <a:pt x="3063" y="1300"/>
                    <a:pt x="3023" y="1300"/>
                  </a:cubicBezTo>
                  <a:cubicBezTo>
                    <a:pt x="2915" y="1300"/>
                    <a:pt x="2840" y="1250"/>
                    <a:pt x="2839" y="1133"/>
                  </a:cubicBezTo>
                  <a:cubicBezTo>
                    <a:pt x="3186" y="1133"/>
                    <a:pt x="3186" y="1133"/>
                    <a:pt x="3186" y="1133"/>
                  </a:cubicBezTo>
                  <a:lnTo>
                    <a:pt x="3148" y="1287"/>
                  </a:lnTo>
                  <a:close/>
                  <a:moveTo>
                    <a:pt x="2718" y="672"/>
                  </a:moveTo>
                  <a:cubicBezTo>
                    <a:pt x="2718" y="826"/>
                    <a:pt x="2718" y="826"/>
                    <a:pt x="2718" y="826"/>
                  </a:cubicBezTo>
                  <a:cubicBezTo>
                    <a:pt x="2666" y="898"/>
                    <a:pt x="2634" y="976"/>
                    <a:pt x="2619" y="1040"/>
                  </a:cubicBezTo>
                  <a:cubicBezTo>
                    <a:pt x="2613" y="1061"/>
                    <a:pt x="2609" y="1083"/>
                    <a:pt x="2607" y="1105"/>
                  </a:cubicBezTo>
                  <a:cubicBezTo>
                    <a:pt x="2497" y="1105"/>
                    <a:pt x="2497" y="1105"/>
                    <a:pt x="2497" y="1105"/>
                  </a:cubicBezTo>
                  <a:cubicBezTo>
                    <a:pt x="2591" y="660"/>
                    <a:pt x="2591" y="660"/>
                    <a:pt x="2591" y="660"/>
                  </a:cubicBezTo>
                  <a:cubicBezTo>
                    <a:pt x="2276" y="660"/>
                    <a:pt x="2276" y="660"/>
                    <a:pt x="2276" y="660"/>
                  </a:cubicBezTo>
                  <a:cubicBezTo>
                    <a:pt x="1993" y="1105"/>
                    <a:pt x="1993" y="1105"/>
                    <a:pt x="1993" y="1105"/>
                  </a:cubicBezTo>
                  <a:cubicBezTo>
                    <a:pt x="1973" y="1105"/>
                    <a:pt x="1973" y="1105"/>
                    <a:pt x="1973" y="1105"/>
                  </a:cubicBezTo>
                  <a:cubicBezTo>
                    <a:pt x="1973" y="28"/>
                    <a:pt x="1973" y="28"/>
                    <a:pt x="1973" y="28"/>
                  </a:cubicBezTo>
                  <a:cubicBezTo>
                    <a:pt x="2718" y="28"/>
                    <a:pt x="2718" y="28"/>
                    <a:pt x="2718" y="28"/>
                  </a:cubicBezTo>
                  <a:lnTo>
                    <a:pt x="2718" y="672"/>
                  </a:lnTo>
                  <a:close/>
                  <a:moveTo>
                    <a:pt x="2302" y="1105"/>
                  </a:moveTo>
                  <a:cubicBezTo>
                    <a:pt x="2190" y="1105"/>
                    <a:pt x="2190" y="1105"/>
                    <a:pt x="2190" y="1105"/>
                  </a:cubicBezTo>
                  <a:cubicBezTo>
                    <a:pt x="2360" y="838"/>
                    <a:pt x="2360" y="838"/>
                    <a:pt x="2360" y="838"/>
                  </a:cubicBezTo>
                  <a:lnTo>
                    <a:pt x="2302" y="1105"/>
                  </a:lnTo>
                  <a:close/>
                  <a:moveTo>
                    <a:pt x="1850" y="659"/>
                  </a:moveTo>
                  <a:cubicBezTo>
                    <a:pt x="1663" y="659"/>
                    <a:pt x="1663" y="659"/>
                    <a:pt x="1663" y="659"/>
                  </a:cubicBezTo>
                  <a:cubicBezTo>
                    <a:pt x="1535" y="1105"/>
                    <a:pt x="1535" y="1105"/>
                    <a:pt x="1535" y="1105"/>
                  </a:cubicBezTo>
                  <a:cubicBezTo>
                    <a:pt x="1337" y="1105"/>
                    <a:pt x="1337" y="1105"/>
                    <a:pt x="1337" y="1105"/>
                  </a:cubicBezTo>
                  <a:cubicBezTo>
                    <a:pt x="1438" y="1068"/>
                    <a:pt x="1499" y="996"/>
                    <a:pt x="1518" y="890"/>
                  </a:cubicBezTo>
                  <a:cubicBezTo>
                    <a:pt x="1534" y="809"/>
                    <a:pt x="1527" y="755"/>
                    <a:pt x="1493" y="714"/>
                  </a:cubicBezTo>
                  <a:cubicBezTo>
                    <a:pt x="1443" y="654"/>
                    <a:pt x="1342" y="659"/>
                    <a:pt x="1253" y="659"/>
                  </a:cubicBezTo>
                  <a:cubicBezTo>
                    <a:pt x="1237" y="659"/>
                    <a:pt x="1105" y="659"/>
                    <a:pt x="1105" y="659"/>
                  </a:cubicBezTo>
                  <a:cubicBezTo>
                    <a:pt x="1105" y="28"/>
                    <a:pt x="1105" y="28"/>
                    <a:pt x="1105" y="28"/>
                  </a:cubicBezTo>
                  <a:cubicBezTo>
                    <a:pt x="1850" y="28"/>
                    <a:pt x="1850" y="28"/>
                    <a:pt x="1850" y="28"/>
                  </a:cubicBezTo>
                  <a:lnTo>
                    <a:pt x="1850" y="659"/>
                  </a:lnTo>
                  <a:close/>
                  <a:moveTo>
                    <a:pt x="1730" y="1105"/>
                  </a:moveTo>
                  <a:cubicBezTo>
                    <a:pt x="1809" y="826"/>
                    <a:pt x="1809" y="826"/>
                    <a:pt x="1809" y="826"/>
                  </a:cubicBezTo>
                  <a:cubicBezTo>
                    <a:pt x="1812" y="1105"/>
                    <a:pt x="1812" y="1105"/>
                    <a:pt x="1812" y="1105"/>
                  </a:cubicBezTo>
                  <a:lnTo>
                    <a:pt x="1730" y="1105"/>
                  </a:lnTo>
                  <a:close/>
                  <a:moveTo>
                    <a:pt x="1188" y="999"/>
                  </a:moveTo>
                  <a:cubicBezTo>
                    <a:pt x="1187" y="999"/>
                    <a:pt x="1187" y="999"/>
                    <a:pt x="1187" y="999"/>
                  </a:cubicBezTo>
                  <a:cubicBezTo>
                    <a:pt x="1180" y="999"/>
                    <a:pt x="1173" y="1000"/>
                    <a:pt x="1165" y="1000"/>
                  </a:cubicBezTo>
                  <a:cubicBezTo>
                    <a:pt x="1154" y="1000"/>
                    <a:pt x="1145" y="1000"/>
                    <a:pt x="1137" y="1000"/>
                  </a:cubicBezTo>
                  <a:cubicBezTo>
                    <a:pt x="1089" y="1000"/>
                    <a:pt x="1089" y="1000"/>
                    <a:pt x="1089" y="1000"/>
                  </a:cubicBezTo>
                  <a:cubicBezTo>
                    <a:pt x="1111" y="918"/>
                    <a:pt x="1111" y="918"/>
                    <a:pt x="1111" y="918"/>
                  </a:cubicBezTo>
                  <a:cubicBezTo>
                    <a:pt x="1122" y="878"/>
                    <a:pt x="1122" y="878"/>
                    <a:pt x="1122" y="878"/>
                  </a:cubicBezTo>
                  <a:cubicBezTo>
                    <a:pt x="1147" y="783"/>
                    <a:pt x="1147" y="783"/>
                    <a:pt x="1147" y="783"/>
                  </a:cubicBezTo>
                  <a:cubicBezTo>
                    <a:pt x="1158" y="783"/>
                    <a:pt x="1169" y="782"/>
                    <a:pt x="1179" y="782"/>
                  </a:cubicBezTo>
                  <a:cubicBezTo>
                    <a:pt x="1216" y="782"/>
                    <a:pt x="1216" y="782"/>
                    <a:pt x="1216" y="782"/>
                  </a:cubicBezTo>
                  <a:cubicBezTo>
                    <a:pt x="1279" y="782"/>
                    <a:pt x="1319" y="786"/>
                    <a:pt x="1334" y="806"/>
                  </a:cubicBezTo>
                  <a:cubicBezTo>
                    <a:pt x="1345" y="822"/>
                    <a:pt x="1343" y="848"/>
                    <a:pt x="1330" y="888"/>
                  </a:cubicBezTo>
                  <a:cubicBezTo>
                    <a:pt x="1308" y="957"/>
                    <a:pt x="1279" y="992"/>
                    <a:pt x="1188" y="999"/>
                  </a:cubicBezTo>
                  <a:moveTo>
                    <a:pt x="980" y="699"/>
                  </a:moveTo>
                  <a:cubicBezTo>
                    <a:pt x="969" y="737"/>
                    <a:pt x="969" y="737"/>
                    <a:pt x="969" y="737"/>
                  </a:cubicBezTo>
                  <a:cubicBezTo>
                    <a:pt x="862" y="1092"/>
                    <a:pt x="862" y="1092"/>
                    <a:pt x="862" y="1092"/>
                  </a:cubicBezTo>
                  <a:cubicBezTo>
                    <a:pt x="858" y="1105"/>
                    <a:pt x="858" y="1105"/>
                    <a:pt x="858" y="1105"/>
                  </a:cubicBezTo>
                  <a:cubicBezTo>
                    <a:pt x="507" y="1105"/>
                    <a:pt x="507" y="1105"/>
                    <a:pt x="507" y="1105"/>
                  </a:cubicBezTo>
                  <a:cubicBezTo>
                    <a:pt x="479" y="1047"/>
                    <a:pt x="479" y="1047"/>
                    <a:pt x="479" y="1047"/>
                  </a:cubicBezTo>
                  <a:cubicBezTo>
                    <a:pt x="858" y="660"/>
                    <a:pt x="858" y="660"/>
                    <a:pt x="858" y="660"/>
                  </a:cubicBezTo>
                  <a:cubicBezTo>
                    <a:pt x="615" y="660"/>
                    <a:pt x="615" y="660"/>
                    <a:pt x="615" y="660"/>
                  </a:cubicBezTo>
                  <a:cubicBezTo>
                    <a:pt x="319" y="979"/>
                    <a:pt x="319" y="979"/>
                    <a:pt x="319" y="979"/>
                  </a:cubicBezTo>
                  <a:cubicBezTo>
                    <a:pt x="415" y="660"/>
                    <a:pt x="415" y="660"/>
                    <a:pt x="415" y="660"/>
                  </a:cubicBezTo>
                  <a:cubicBezTo>
                    <a:pt x="235" y="660"/>
                    <a:pt x="235" y="660"/>
                    <a:pt x="235" y="660"/>
                  </a:cubicBezTo>
                  <a:cubicBezTo>
                    <a:pt x="235" y="28"/>
                    <a:pt x="235" y="28"/>
                    <a:pt x="235" y="28"/>
                  </a:cubicBezTo>
                  <a:cubicBezTo>
                    <a:pt x="980" y="28"/>
                    <a:pt x="980" y="28"/>
                    <a:pt x="980" y="28"/>
                  </a:cubicBezTo>
                  <a:lnTo>
                    <a:pt x="980" y="699"/>
                  </a:lnTo>
                  <a:close/>
                  <a:moveTo>
                    <a:pt x="281" y="1105"/>
                  </a:moveTo>
                  <a:cubicBezTo>
                    <a:pt x="282" y="1101"/>
                    <a:pt x="282" y="1101"/>
                    <a:pt x="282" y="1101"/>
                  </a:cubicBezTo>
                  <a:cubicBezTo>
                    <a:pt x="285" y="1105"/>
                    <a:pt x="285" y="1105"/>
                    <a:pt x="285" y="1105"/>
                  </a:cubicBezTo>
                  <a:lnTo>
                    <a:pt x="281" y="1105"/>
                  </a:lnTo>
                  <a:close/>
                  <a:moveTo>
                    <a:pt x="2814" y="0"/>
                  </a:moveTo>
                  <a:cubicBezTo>
                    <a:pt x="2814" y="724"/>
                    <a:pt x="2814" y="724"/>
                    <a:pt x="2814" y="724"/>
                  </a:cubicBezTo>
                  <a:cubicBezTo>
                    <a:pt x="2789" y="744"/>
                    <a:pt x="2767" y="765"/>
                    <a:pt x="2747" y="788"/>
                  </a:cubicBezTo>
                  <a:cubicBezTo>
                    <a:pt x="2747" y="0"/>
                    <a:pt x="2747" y="0"/>
                    <a:pt x="2747" y="0"/>
                  </a:cubicBezTo>
                  <a:cubicBezTo>
                    <a:pt x="1945" y="0"/>
                    <a:pt x="1945" y="0"/>
                    <a:pt x="1945" y="0"/>
                  </a:cubicBezTo>
                  <a:cubicBezTo>
                    <a:pt x="1945" y="659"/>
                    <a:pt x="1945" y="659"/>
                    <a:pt x="1945" y="659"/>
                  </a:cubicBezTo>
                  <a:cubicBezTo>
                    <a:pt x="1878" y="659"/>
                    <a:pt x="1878" y="659"/>
                    <a:pt x="1878" y="659"/>
                  </a:cubicBezTo>
                  <a:cubicBezTo>
                    <a:pt x="1878" y="0"/>
                    <a:pt x="1878" y="0"/>
                    <a:pt x="1878" y="0"/>
                  </a:cubicBezTo>
                  <a:cubicBezTo>
                    <a:pt x="1076" y="0"/>
                    <a:pt x="1076" y="0"/>
                    <a:pt x="1076" y="0"/>
                  </a:cubicBezTo>
                  <a:cubicBezTo>
                    <a:pt x="1076" y="660"/>
                    <a:pt x="1076" y="660"/>
                    <a:pt x="1076" y="660"/>
                  </a:cubicBezTo>
                  <a:cubicBezTo>
                    <a:pt x="1009" y="660"/>
                    <a:pt x="1009" y="660"/>
                    <a:pt x="1009" y="660"/>
                  </a:cubicBezTo>
                  <a:cubicBezTo>
                    <a:pt x="1009" y="0"/>
                    <a:pt x="1009" y="0"/>
                    <a:pt x="1009" y="0"/>
                  </a:cubicBezTo>
                  <a:cubicBezTo>
                    <a:pt x="207" y="0"/>
                    <a:pt x="207" y="0"/>
                    <a:pt x="207" y="0"/>
                  </a:cubicBezTo>
                  <a:cubicBezTo>
                    <a:pt x="207" y="753"/>
                    <a:pt x="207" y="753"/>
                    <a:pt x="207" y="753"/>
                  </a:cubicBezTo>
                  <a:cubicBezTo>
                    <a:pt x="2" y="1435"/>
                    <a:pt x="2" y="1435"/>
                    <a:pt x="2" y="1435"/>
                  </a:cubicBezTo>
                  <a:cubicBezTo>
                    <a:pt x="182" y="1435"/>
                    <a:pt x="182" y="1435"/>
                    <a:pt x="182" y="1435"/>
                  </a:cubicBezTo>
                  <a:cubicBezTo>
                    <a:pt x="273" y="1133"/>
                    <a:pt x="273" y="1133"/>
                    <a:pt x="273" y="1133"/>
                  </a:cubicBezTo>
                  <a:cubicBezTo>
                    <a:pt x="299" y="1133"/>
                    <a:pt x="299" y="1133"/>
                    <a:pt x="299" y="1133"/>
                  </a:cubicBezTo>
                  <a:cubicBezTo>
                    <a:pt x="448" y="1435"/>
                    <a:pt x="448" y="1435"/>
                    <a:pt x="448" y="1435"/>
                  </a:cubicBezTo>
                  <a:cubicBezTo>
                    <a:pt x="665" y="1435"/>
                    <a:pt x="665" y="1435"/>
                    <a:pt x="665" y="1435"/>
                  </a:cubicBezTo>
                  <a:cubicBezTo>
                    <a:pt x="520" y="1133"/>
                    <a:pt x="520" y="1133"/>
                    <a:pt x="520" y="1133"/>
                  </a:cubicBezTo>
                  <a:cubicBezTo>
                    <a:pt x="849" y="1133"/>
                    <a:pt x="849" y="1133"/>
                    <a:pt x="849" y="1133"/>
                  </a:cubicBezTo>
                  <a:cubicBezTo>
                    <a:pt x="758" y="1435"/>
                    <a:pt x="758" y="1435"/>
                    <a:pt x="758" y="1435"/>
                  </a:cubicBezTo>
                  <a:cubicBezTo>
                    <a:pt x="955" y="1435"/>
                    <a:pt x="955" y="1435"/>
                    <a:pt x="955" y="1435"/>
                  </a:cubicBezTo>
                  <a:cubicBezTo>
                    <a:pt x="1045" y="1134"/>
                    <a:pt x="1045" y="1134"/>
                    <a:pt x="1045" y="1134"/>
                  </a:cubicBezTo>
                  <a:cubicBezTo>
                    <a:pt x="1088" y="1134"/>
                    <a:pt x="1088" y="1134"/>
                    <a:pt x="1088" y="1134"/>
                  </a:cubicBezTo>
                  <a:cubicBezTo>
                    <a:pt x="1088" y="1133"/>
                    <a:pt x="1088" y="1133"/>
                    <a:pt x="1088" y="1133"/>
                  </a:cubicBezTo>
                  <a:cubicBezTo>
                    <a:pt x="1150" y="1133"/>
                    <a:pt x="1150" y="1133"/>
                    <a:pt x="1150" y="1133"/>
                  </a:cubicBezTo>
                  <a:cubicBezTo>
                    <a:pt x="1155" y="1133"/>
                    <a:pt x="1155" y="1133"/>
                    <a:pt x="1155" y="1133"/>
                  </a:cubicBezTo>
                  <a:cubicBezTo>
                    <a:pt x="1527" y="1133"/>
                    <a:pt x="1527" y="1133"/>
                    <a:pt x="1527" y="1133"/>
                  </a:cubicBezTo>
                  <a:cubicBezTo>
                    <a:pt x="1440" y="1434"/>
                    <a:pt x="1440" y="1434"/>
                    <a:pt x="1440" y="1434"/>
                  </a:cubicBezTo>
                  <a:cubicBezTo>
                    <a:pt x="1638" y="1434"/>
                    <a:pt x="1638" y="1434"/>
                    <a:pt x="1638" y="1434"/>
                  </a:cubicBezTo>
                  <a:cubicBezTo>
                    <a:pt x="1722" y="1133"/>
                    <a:pt x="1722" y="1133"/>
                    <a:pt x="1722" y="1133"/>
                  </a:cubicBezTo>
                  <a:cubicBezTo>
                    <a:pt x="1812" y="1133"/>
                    <a:pt x="1812" y="1133"/>
                    <a:pt x="1812" y="1133"/>
                  </a:cubicBezTo>
                  <a:cubicBezTo>
                    <a:pt x="1814" y="1434"/>
                    <a:pt x="1814" y="1434"/>
                    <a:pt x="1814" y="1434"/>
                  </a:cubicBezTo>
                  <a:cubicBezTo>
                    <a:pt x="1980" y="1434"/>
                    <a:pt x="1980" y="1434"/>
                    <a:pt x="1980" y="1434"/>
                  </a:cubicBezTo>
                  <a:cubicBezTo>
                    <a:pt x="2171" y="1133"/>
                    <a:pt x="2171" y="1133"/>
                    <a:pt x="2171" y="1133"/>
                  </a:cubicBezTo>
                  <a:cubicBezTo>
                    <a:pt x="2296" y="1133"/>
                    <a:pt x="2296" y="1133"/>
                    <a:pt x="2296" y="1133"/>
                  </a:cubicBezTo>
                  <a:cubicBezTo>
                    <a:pt x="2232" y="1434"/>
                    <a:pt x="2232" y="1434"/>
                    <a:pt x="2232" y="1434"/>
                  </a:cubicBezTo>
                  <a:cubicBezTo>
                    <a:pt x="2427" y="1434"/>
                    <a:pt x="2427" y="1434"/>
                    <a:pt x="2427" y="1434"/>
                  </a:cubicBezTo>
                  <a:cubicBezTo>
                    <a:pt x="2491" y="1133"/>
                    <a:pt x="2491" y="1133"/>
                    <a:pt x="2491" y="1133"/>
                  </a:cubicBezTo>
                  <a:cubicBezTo>
                    <a:pt x="2604" y="1133"/>
                    <a:pt x="2604" y="1133"/>
                    <a:pt x="2604" y="1133"/>
                  </a:cubicBezTo>
                  <a:cubicBezTo>
                    <a:pt x="2599" y="1226"/>
                    <a:pt x="2623" y="1311"/>
                    <a:pt x="2685" y="1368"/>
                  </a:cubicBezTo>
                  <a:cubicBezTo>
                    <a:pt x="2761" y="1438"/>
                    <a:pt x="2877" y="1451"/>
                    <a:pt x="2963" y="1451"/>
                  </a:cubicBezTo>
                  <a:cubicBezTo>
                    <a:pt x="3081" y="1451"/>
                    <a:pt x="3203" y="1434"/>
                    <a:pt x="3326" y="1407"/>
                  </a:cubicBezTo>
                  <a:cubicBezTo>
                    <a:pt x="3394" y="1133"/>
                    <a:pt x="3394" y="1133"/>
                    <a:pt x="3394" y="1133"/>
                  </a:cubicBezTo>
                  <a:cubicBezTo>
                    <a:pt x="3617" y="1133"/>
                    <a:pt x="3617" y="1133"/>
                    <a:pt x="3617" y="1133"/>
                  </a:cubicBezTo>
                  <a:cubicBezTo>
                    <a:pt x="3617" y="0"/>
                    <a:pt x="3617" y="0"/>
                    <a:pt x="3617" y="0"/>
                  </a:cubicBezTo>
                  <a:lnTo>
                    <a:pt x="2814" y="0"/>
                  </a:lnTo>
                  <a:close/>
                  <a:moveTo>
                    <a:pt x="351" y="1894"/>
                  </a:moveTo>
                  <a:cubicBezTo>
                    <a:pt x="321" y="2038"/>
                    <a:pt x="321" y="2038"/>
                    <a:pt x="321" y="2038"/>
                  </a:cubicBezTo>
                  <a:cubicBezTo>
                    <a:pt x="316" y="2060"/>
                    <a:pt x="309" y="2092"/>
                    <a:pt x="348" y="2092"/>
                  </a:cubicBezTo>
                  <a:cubicBezTo>
                    <a:pt x="393" y="2092"/>
                    <a:pt x="400" y="2058"/>
                    <a:pt x="409" y="2016"/>
                  </a:cubicBezTo>
                  <a:cubicBezTo>
                    <a:pt x="435" y="1894"/>
                    <a:pt x="435" y="1894"/>
                    <a:pt x="435" y="1894"/>
                  </a:cubicBezTo>
                  <a:cubicBezTo>
                    <a:pt x="508" y="1894"/>
                    <a:pt x="508" y="1894"/>
                    <a:pt x="508" y="1894"/>
                  </a:cubicBezTo>
                  <a:cubicBezTo>
                    <a:pt x="474" y="2053"/>
                    <a:pt x="474" y="2053"/>
                    <a:pt x="474" y="2053"/>
                  </a:cubicBezTo>
                  <a:cubicBezTo>
                    <a:pt x="464" y="2106"/>
                    <a:pt x="463" y="2112"/>
                    <a:pt x="462" y="2118"/>
                  </a:cubicBezTo>
                  <a:cubicBezTo>
                    <a:pt x="461" y="2125"/>
                    <a:pt x="460" y="2130"/>
                    <a:pt x="460" y="2136"/>
                  </a:cubicBezTo>
                  <a:cubicBezTo>
                    <a:pt x="391" y="2136"/>
                    <a:pt x="391" y="2136"/>
                    <a:pt x="391" y="2136"/>
                  </a:cubicBezTo>
                  <a:cubicBezTo>
                    <a:pt x="395" y="2104"/>
                    <a:pt x="395" y="2104"/>
                    <a:pt x="395" y="2104"/>
                  </a:cubicBezTo>
                  <a:cubicBezTo>
                    <a:pt x="386" y="2115"/>
                    <a:pt x="362" y="2143"/>
                    <a:pt x="315" y="2143"/>
                  </a:cubicBezTo>
                  <a:cubicBezTo>
                    <a:pt x="283" y="2143"/>
                    <a:pt x="259" y="2128"/>
                    <a:pt x="250" y="2110"/>
                  </a:cubicBezTo>
                  <a:cubicBezTo>
                    <a:pt x="238" y="2090"/>
                    <a:pt x="245" y="2056"/>
                    <a:pt x="248" y="2045"/>
                  </a:cubicBezTo>
                  <a:cubicBezTo>
                    <a:pt x="279" y="1894"/>
                    <a:pt x="279" y="1894"/>
                    <a:pt x="279" y="1894"/>
                  </a:cubicBezTo>
                  <a:lnTo>
                    <a:pt x="351" y="1894"/>
                  </a:lnTo>
                  <a:close/>
                  <a:moveTo>
                    <a:pt x="812" y="1942"/>
                  </a:moveTo>
                  <a:cubicBezTo>
                    <a:pt x="870" y="1942"/>
                    <a:pt x="870" y="1942"/>
                    <a:pt x="870" y="1942"/>
                  </a:cubicBezTo>
                  <a:cubicBezTo>
                    <a:pt x="880" y="1895"/>
                    <a:pt x="880" y="1895"/>
                    <a:pt x="880" y="1895"/>
                  </a:cubicBezTo>
                  <a:cubicBezTo>
                    <a:pt x="822" y="1895"/>
                    <a:pt x="822" y="1895"/>
                    <a:pt x="822" y="1895"/>
                  </a:cubicBezTo>
                  <a:cubicBezTo>
                    <a:pt x="838" y="1822"/>
                    <a:pt x="838" y="1822"/>
                    <a:pt x="838" y="1822"/>
                  </a:cubicBezTo>
                  <a:cubicBezTo>
                    <a:pt x="762" y="1848"/>
                    <a:pt x="762" y="1848"/>
                    <a:pt x="762" y="1848"/>
                  </a:cubicBezTo>
                  <a:cubicBezTo>
                    <a:pt x="752" y="1895"/>
                    <a:pt x="752" y="1895"/>
                    <a:pt x="752" y="1895"/>
                  </a:cubicBezTo>
                  <a:cubicBezTo>
                    <a:pt x="654" y="1895"/>
                    <a:pt x="654" y="1895"/>
                    <a:pt x="654" y="1895"/>
                  </a:cubicBezTo>
                  <a:cubicBezTo>
                    <a:pt x="670" y="1822"/>
                    <a:pt x="670" y="1822"/>
                    <a:pt x="670" y="1822"/>
                  </a:cubicBezTo>
                  <a:cubicBezTo>
                    <a:pt x="594" y="1848"/>
                    <a:pt x="594" y="1848"/>
                    <a:pt x="594" y="1848"/>
                  </a:cubicBezTo>
                  <a:cubicBezTo>
                    <a:pt x="584" y="1895"/>
                    <a:pt x="584" y="1895"/>
                    <a:pt x="584" y="1895"/>
                  </a:cubicBezTo>
                  <a:cubicBezTo>
                    <a:pt x="537" y="1895"/>
                    <a:pt x="537" y="1895"/>
                    <a:pt x="537" y="1895"/>
                  </a:cubicBezTo>
                  <a:cubicBezTo>
                    <a:pt x="527" y="1942"/>
                    <a:pt x="527" y="1942"/>
                    <a:pt x="527" y="1942"/>
                  </a:cubicBezTo>
                  <a:cubicBezTo>
                    <a:pt x="574" y="1942"/>
                    <a:pt x="574" y="1942"/>
                    <a:pt x="574" y="1942"/>
                  </a:cubicBezTo>
                  <a:cubicBezTo>
                    <a:pt x="545" y="2075"/>
                    <a:pt x="545" y="2075"/>
                    <a:pt x="545" y="2075"/>
                  </a:cubicBezTo>
                  <a:cubicBezTo>
                    <a:pt x="541" y="2095"/>
                    <a:pt x="531" y="2141"/>
                    <a:pt x="603" y="2141"/>
                  </a:cubicBezTo>
                  <a:cubicBezTo>
                    <a:pt x="615" y="2141"/>
                    <a:pt x="636" y="2139"/>
                    <a:pt x="660" y="2133"/>
                  </a:cubicBezTo>
                  <a:cubicBezTo>
                    <a:pt x="670" y="2086"/>
                    <a:pt x="670" y="2086"/>
                    <a:pt x="670" y="2086"/>
                  </a:cubicBezTo>
                  <a:cubicBezTo>
                    <a:pt x="661" y="2087"/>
                    <a:pt x="656" y="2088"/>
                    <a:pt x="645" y="2088"/>
                  </a:cubicBezTo>
                  <a:cubicBezTo>
                    <a:pt x="614" y="2088"/>
                    <a:pt x="617" y="2074"/>
                    <a:pt x="621" y="2052"/>
                  </a:cubicBezTo>
                  <a:cubicBezTo>
                    <a:pt x="645" y="1942"/>
                    <a:pt x="645" y="1942"/>
                    <a:pt x="645" y="1942"/>
                  </a:cubicBezTo>
                  <a:cubicBezTo>
                    <a:pt x="741" y="1942"/>
                    <a:pt x="741" y="1942"/>
                    <a:pt x="741" y="1942"/>
                  </a:cubicBezTo>
                  <a:cubicBezTo>
                    <a:pt x="713" y="2075"/>
                    <a:pt x="713" y="2075"/>
                    <a:pt x="713" y="2075"/>
                  </a:cubicBezTo>
                  <a:cubicBezTo>
                    <a:pt x="709" y="2095"/>
                    <a:pt x="699" y="2141"/>
                    <a:pt x="771" y="2141"/>
                  </a:cubicBezTo>
                  <a:cubicBezTo>
                    <a:pt x="782" y="2141"/>
                    <a:pt x="804" y="2139"/>
                    <a:pt x="828" y="2133"/>
                  </a:cubicBezTo>
                  <a:cubicBezTo>
                    <a:pt x="838" y="2086"/>
                    <a:pt x="838" y="2086"/>
                    <a:pt x="838" y="2086"/>
                  </a:cubicBezTo>
                  <a:cubicBezTo>
                    <a:pt x="829" y="2087"/>
                    <a:pt x="824" y="2088"/>
                    <a:pt x="813" y="2088"/>
                  </a:cubicBezTo>
                  <a:cubicBezTo>
                    <a:pt x="781" y="2088"/>
                    <a:pt x="785" y="2074"/>
                    <a:pt x="788" y="2052"/>
                  </a:cubicBezTo>
                  <a:lnTo>
                    <a:pt x="812" y="1942"/>
                  </a:lnTo>
                  <a:close/>
                  <a:moveTo>
                    <a:pt x="916" y="1893"/>
                  </a:moveTo>
                  <a:cubicBezTo>
                    <a:pt x="987" y="1893"/>
                    <a:pt x="987" y="1893"/>
                    <a:pt x="987" y="1893"/>
                  </a:cubicBezTo>
                  <a:cubicBezTo>
                    <a:pt x="935" y="2136"/>
                    <a:pt x="935" y="2136"/>
                    <a:pt x="935" y="2136"/>
                  </a:cubicBezTo>
                  <a:cubicBezTo>
                    <a:pt x="864" y="2136"/>
                    <a:pt x="864" y="2136"/>
                    <a:pt x="864" y="2136"/>
                  </a:cubicBezTo>
                  <a:lnTo>
                    <a:pt x="916" y="1893"/>
                  </a:lnTo>
                  <a:close/>
                  <a:moveTo>
                    <a:pt x="935" y="1790"/>
                  </a:moveTo>
                  <a:cubicBezTo>
                    <a:pt x="1011" y="1790"/>
                    <a:pt x="1011" y="1790"/>
                    <a:pt x="1011" y="1790"/>
                  </a:cubicBezTo>
                  <a:cubicBezTo>
                    <a:pt x="998" y="1851"/>
                    <a:pt x="998" y="1851"/>
                    <a:pt x="998" y="1851"/>
                  </a:cubicBezTo>
                  <a:cubicBezTo>
                    <a:pt x="922" y="1851"/>
                    <a:pt x="922" y="1851"/>
                    <a:pt x="922" y="1851"/>
                  </a:cubicBezTo>
                  <a:lnTo>
                    <a:pt x="935" y="1790"/>
                  </a:lnTo>
                  <a:close/>
                  <a:moveTo>
                    <a:pt x="1034" y="1937"/>
                  </a:moveTo>
                  <a:cubicBezTo>
                    <a:pt x="1034" y="1936"/>
                    <a:pt x="1040" y="1909"/>
                    <a:pt x="1042" y="1893"/>
                  </a:cubicBezTo>
                  <a:cubicBezTo>
                    <a:pt x="1110" y="1893"/>
                    <a:pt x="1110" y="1893"/>
                    <a:pt x="1110" y="1893"/>
                  </a:cubicBezTo>
                  <a:cubicBezTo>
                    <a:pt x="1104" y="1929"/>
                    <a:pt x="1104" y="1929"/>
                    <a:pt x="1104" y="1929"/>
                  </a:cubicBezTo>
                  <a:cubicBezTo>
                    <a:pt x="1113" y="1918"/>
                    <a:pt x="1139" y="1887"/>
                    <a:pt x="1192" y="1887"/>
                  </a:cubicBezTo>
                  <a:cubicBezTo>
                    <a:pt x="1239" y="1887"/>
                    <a:pt x="1254" y="1916"/>
                    <a:pt x="1256" y="1933"/>
                  </a:cubicBezTo>
                  <a:cubicBezTo>
                    <a:pt x="1259" y="1948"/>
                    <a:pt x="1257" y="1960"/>
                    <a:pt x="1248" y="2005"/>
                  </a:cubicBezTo>
                  <a:cubicBezTo>
                    <a:pt x="1220" y="2136"/>
                    <a:pt x="1220" y="2136"/>
                    <a:pt x="1220" y="2136"/>
                  </a:cubicBezTo>
                  <a:cubicBezTo>
                    <a:pt x="1147" y="2136"/>
                    <a:pt x="1147" y="2136"/>
                    <a:pt x="1147" y="2136"/>
                  </a:cubicBezTo>
                  <a:cubicBezTo>
                    <a:pt x="1179" y="1985"/>
                    <a:pt x="1179" y="1985"/>
                    <a:pt x="1179" y="1985"/>
                  </a:cubicBezTo>
                  <a:cubicBezTo>
                    <a:pt x="1181" y="1975"/>
                    <a:pt x="1183" y="1967"/>
                    <a:pt x="1181" y="1959"/>
                  </a:cubicBezTo>
                  <a:cubicBezTo>
                    <a:pt x="1178" y="1949"/>
                    <a:pt x="1169" y="1938"/>
                    <a:pt x="1151" y="1938"/>
                  </a:cubicBezTo>
                  <a:cubicBezTo>
                    <a:pt x="1136" y="1938"/>
                    <a:pt x="1120" y="1946"/>
                    <a:pt x="1110" y="1957"/>
                  </a:cubicBezTo>
                  <a:cubicBezTo>
                    <a:pt x="1104" y="1963"/>
                    <a:pt x="1097" y="1975"/>
                    <a:pt x="1093" y="1994"/>
                  </a:cubicBezTo>
                  <a:cubicBezTo>
                    <a:pt x="1063" y="2136"/>
                    <a:pt x="1063" y="2136"/>
                    <a:pt x="1063" y="2136"/>
                  </a:cubicBezTo>
                  <a:cubicBezTo>
                    <a:pt x="992" y="2136"/>
                    <a:pt x="992" y="2136"/>
                    <a:pt x="992" y="2136"/>
                  </a:cubicBezTo>
                  <a:lnTo>
                    <a:pt x="1034" y="1937"/>
                  </a:lnTo>
                  <a:close/>
                  <a:moveTo>
                    <a:pt x="1558" y="1895"/>
                  </a:moveTo>
                  <a:cubicBezTo>
                    <a:pt x="1552" y="1914"/>
                    <a:pt x="1547" y="1930"/>
                    <a:pt x="1542" y="1955"/>
                  </a:cubicBezTo>
                  <a:cubicBezTo>
                    <a:pt x="1504" y="2134"/>
                    <a:pt x="1504" y="2134"/>
                    <a:pt x="1504" y="2134"/>
                  </a:cubicBezTo>
                  <a:cubicBezTo>
                    <a:pt x="1486" y="2223"/>
                    <a:pt x="1409" y="2232"/>
                    <a:pt x="1363" y="2232"/>
                  </a:cubicBezTo>
                  <a:cubicBezTo>
                    <a:pt x="1328" y="2232"/>
                    <a:pt x="1261" y="2228"/>
                    <a:pt x="1272" y="2154"/>
                  </a:cubicBezTo>
                  <a:cubicBezTo>
                    <a:pt x="1340" y="2154"/>
                    <a:pt x="1340" y="2154"/>
                    <a:pt x="1340" y="2154"/>
                  </a:cubicBezTo>
                  <a:cubicBezTo>
                    <a:pt x="1340" y="2158"/>
                    <a:pt x="1339" y="2166"/>
                    <a:pt x="1344" y="2174"/>
                  </a:cubicBezTo>
                  <a:cubicBezTo>
                    <a:pt x="1348" y="2181"/>
                    <a:pt x="1357" y="2188"/>
                    <a:pt x="1375" y="2188"/>
                  </a:cubicBezTo>
                  <a:cubicBezTo>
                    <a:pt x="1397" y="2188"/>
                    <a:pt x="1417" y="2178"/>
                    <a:pt x="1427" y="2156"/>
                  </a:cubicBezTo>
                  <a:cubicBezTo>
                    <a:pt x="1432" y="2144"/>
                    <a:pt x="1434" y="2135"/>
                    <a:pt x="1442" y="2099"/>
                  </a:cubicBezTo>
                  <a:cubicBezTo>
                    <a:pt x="1413" y="2128"/>
                    <a:pt x="1387" y="2132"/>
                    <a:pt x="1370" y="2132"/>
                  </a:cubicBezTo>
                  <a:cubicBezTo>
                    <a:pt x="1300" y="2132"/>
                    <a:pt x="1280" y="2071"/>
                    <a:pt x="1293" y="2012"/>
                  </a:cubicBezTo>
                  <a:cubicBezTo>
                    <a:pt x="1306" y="1951"/>
                    <a:pt x="1352" y="1892"/>
                    <a:pt x="1422" y="1892"/>
                  </a:cubicBezTo>
                  <a:cubicBezTo>
                    <a:pt x="1466" y="1892"/>
                    <a:pt x="1477" y="1916"/>
                    <a:pt x="1482" y="1927"/>
                  </a:cubicBezTo>
                  <a:cubicBezTo>
                    <a:pt x="1492" y="1895"/>
                    <a:pt x="1492" y="1895"/>
                    <a:pt x="1492" y="1895"/>
                  </a:cubicBezTo>
                  <a:lnTo>
                    <a:pt x="1558" y="1895"/>
                  </a:lnTo>
                  <a:close/>
                  <a:moveTo>
                    <a:pt x="1397" y="2083"/>
                  </a:moveTo>
                  <a:cubicBezTo>
                    <a:pt x="1447" y="2083"/>
                    <a:pt x="1459" y="2025"/>
                    <a:pt x="1461" y="2014"/>
                  </a:cubicBezTo>
                  <a:cubicBezTo>
                    <a:pt x="1467" y="1986"/>
                    <a:pt x="1472" y="1940"/>
                    <a:pt x="1428" y="1940"/>
                  </a:cubicBezTo>
                  <a:cubicBezTo>
                    <a:pt x="1401" y="1940"/>
                    <a:pt x="1375" y="1960"/>
                    <a:pt x="1364" y="2012"/>
                  </a:cubicBezTo>
                  <a:cubicBezTo>
                    <a:pt x="1362" y="2025"/>
                    <a:pt x="1349" y="2083"/>
                    <a:pt x="1397" y="2083"/>
                  </a:cubicBezTo>
                  <a:moveTo>
                    <a:pt x="1842" y="2133"/>
                  </a:moveTo>
                  <a:cubicBezTo>
                    <a:pt x="1818" y="2139"/>
                    <a:pt x="1797" y="2141"/>
                    <a:pt x="1786" y="2141"/>
                  </a:cubicBezTo>
                  <a:cubicBezTo>
                    <a:pt x="1714" y="2141"/>
                    <a:pt x="1723" y="2095"/>
                    <a:pt x="1728" y="2075"/>
                  </a:cubicBezTo>
                  <a:cubicBezTo>
                    <a:pt x="1756" y="1942"/>
                    <a:pt x="1756" y="1942"/>
                    <a:pt x="1756" y="1942"/>
                  </a:cubicBezTo>
                  <a:cubicBezTo>
                    <a:pt x="1710" y="1942"/>
                    <a:pt x="1710" y="1942"/>
                    <a:pt x="1710" y="1942"/>
                  </a:cubicBezTo>
                  <a:cubicBezTo>
                    <a:pt x="1719" y="1895"/>
                    <a:pt x="1719" y="1895"/>
                    <a:pt x="1719" y="1895"/>
                  </a:cubicBezTo>
                  <a:cubicBezTo>
                    <a:pt x="1766" y="1895"/>
                    <a:pt x="1766" y="1895"/>
                    <a:pt x="1766" y="1895"/>
                  </a:cubicBezTo>
                  <a:cubicBezTo>
                    <a:pt x="1776" y="1848"/>
                    <a:pt x="1776" y="1848"/>
                    <a:pt x="1776" y="1848"/>
                  </a:cubicBezTo>
                  <a:cubicBezTo>
                    <a:pt x="1852" y="1822"/>
                    <a:pt x="1852" y="1822"/>
                    <a:pt x="1852" y="1822"/>
                  </a:cubicBezTo>
                  <a:cubicBezTo>
                    <a:pt x="1837" y="1895"/>
                    <a:pt x="1837" y="1895"/>
                    <a:pt x="1837" y="1895"/>
                  </a:cubicBezTo>
                  <a:cubicBezTo>
                    <a:pt x="1895" y="1895"/>
                    <a:pt x="1895" y="1895"/>
                    <a:pt x="1895" y="1895"/>
                  </a:cubicBezTo>
                  <a:cubicBezTo>
                    <a:pt x="1884" y="1942"/>
                    <a:pt x="1884" y="1942"/>
                    <a:pt x="1884" y="1942"/>
                  </a:cubicBezTo>
                  <a:cubicBezTo>
                    <a:pt x="1827" y="1942"/>
                    <a:pt x="1827" y="1942"/>
                    <a:pt x="1827" y="1942"/>
                  </a:cubicBezTo>
                  <a:cubicBezTo>
                    <a:pt x="1803" y="2052"/>
                    <a:pt x="1803" y="2052"/>
                    <a:pt x="1803" y="2052"/>
                  </a:cubicBezTo>
                  <a:cubicBezTo>
                    <a:pt x="1799" y="2074"/>
                    <a:pt x="1796" y="2088"/>
                    <a:pt x="1828" y="2088"/>
                  </a:cubicBezTo>
                  <a:cubicBezTo>
                    <a:pt x="1838" y="2088"/>
                    <a:pt x="1844" y="2087"/>
                    <a:pt x="1852" y="2086"/>
                  </a:cubicBezTo>
                  <a:lnTo>
                    <a:pt x="1842" y="2133"/>
                  </a:lnTo>
                  <a:close/>
                  <a:moveTo>
                    <a:pt x="1954" y="1790"/>
                  </a:moveTo>
                  <a:cubicBezTo>
                    <a:pt x="2025" y="1790"/>
                    <a:pt x="2025" y="1790"/>
                    <a:pt x="2025" y="1790"/>
                  </a:cubicBezTo>
                  <a:cubicBezTo>
                    <a:pt x="1996" y="1927"/>
                    <a:pt x="1996" y="1927"/>
                    <a:pt x="1996" y="1927"/>
                  </a:cubicBezTo>
                  <a:cubicBezTo>
                    <a:pt x="2007" y="1915"/>
                    <a:pt x="2030" y="1890"/>
                    <a:pt x="2074" y="1890"/>
                  </a:cubicBezTo>
                  <a:cubicBezTo>
                    <a:pt x="2110" y="1890"/>
                    <a:pt x="2129" y="1908"/>
                    <a:pt x="2137" y="1923"/>
                  </a:cubicBezTo>
                  <a:cubicBezTo>
                    <a:pt x="2143" y="1935"/>
                    <a:pt x="2146" y="1957"/>
                    <a:pt x="2139" y="1989"/>
                  </a:cubicBezTo>
                  <a:cubicBezTo>
                    <a:pt x="2108" y="2136"/>
                    <a:pt x="2108" y="2136"/>
                    <a:pt x="2108" y="2136"/>
                  </a:cubicBezTo>
                  <a:cubicBezTo>
                    <a:pt x="2037" y="2136"/>
                    <a:pt x="2037" y="2136"/>
                    <a:pt x="2037" y="2136"/>
                  </a:cubicBezTo>
                  <a:cubicBezTo>
                    <a:pt x="2068" y="1991"/>
                    <a:pt x="2068" y="1991"/>
                    <a:pt x="2068" y="1991"/>
                  </a:cubicBezTo>
                  <a:cubicBezTo>
                    <a:pt x="2071" y="1977"/>
                    <a:pt x="2079" y="1938"/>
                    <a:pt x="2040" y="1938"/>
                  </a:cubicBezTo>
                  <a:cubicBezTo>
                    <a:pt x="2019" y="1938"/>
                    <a:pt x="1991" y="1950"/>
                    <a:pt x="1983" y="1988"/>
                  </a:cubicBezTo>
                  <a:cubicBezTo>
                    <a:pt x="1952" y="2136"/>
                    <a:pt x="1952" y="2136"/>
                    <a:pt x="1952" y="2136"/>
                  </a:cubicBezTo>
                  <a:cubicBezTo>
                    <a:pt x="1881" y="2136"/>
                    <a:pt x="1881" y="2136"/>
                    <a:pt x="1881" y="2136"/>
                  </a:cubicBezTo>
                  <a:lnTo>
                    <a:pt x="1954" y="1790"/>
                  </a:lnTo>
                  <a:close/>
                  <a:moveTo>
                    <a:pt x="2195" y="1953"/>
                  </a:moveTo>
                  <a:cubicBezTo>
                    <a:pt x="2197" y="1942"/>
                    <a:pt x="2203" y="1906"/>
                    <a:pt x="2205" y="1893"/>
                  </a:cubicBezTo>
                  <a:cubicBezTo>
                    <a:pt x="2271" y="1893"/>
                    <a:pt x="2271" y="1893"/>
                    <a:pt x="2271" y="1893"/>
                  </a:cubicBezTo>
                  <a:cubicBezTo>
                    <a:pt x="2263" y="1939"/>
                    <a:pt x="2263" y="1939"/>
                    <a:pt x="2263" y="1939"/>
                  </a:cubicBezTo>
                  <a:cubicBezTo>
                    <a:pt x="2276" y="1919"/>
                    <a:pt x="2298" y="1889"/>
                    <a:pt x="2356" y="1892"/>
                  </a:cubicBezTo>
                  <a:cubicBezTo>
                    <a:pt x="2342" y="1956"/>
                    <a:pt x="2342" y="1956"/>
                    <a:pt x="2342" y="1956"/>
                  </a:cubicBezTo>
                  <a:cubicBezTo>
                    <a:pt x="2271" y="1949"/>
                    <a:pt x="2259" y="1986"/>
                    <a:pt x="2253" y="2017"/>
                  </a:cubicBezTo>
                  <a:cubicBezTo>
                    <a:pt x="2227" y="2136"/>
                    <a:pt x="2227" y="2136"/>
                    <a:pt x="2227" y="2136"/>
                  </a:cubicBezTo>
                  <a:cubicBezTo>
                    <a:pt x="2156" y="2136"/>
                    <a:pt x="2156" y="2136"/>
                    <a:pt x="2156" y="2136"/>
                  </a:cubicBezTo>
                  <a:lnTo>
                    <a:pt x="2195" y="1953"/>
                  </a:lnTo>
                  <a:close/>
                  <a:moveTo>
                    <a:pt x="2503" y="1888"/>
                  </a:moveTo>
                  <a:cubicBezTo>
                    <a:pt x="2591" y="1888"/>
                    <a:pt x="2617" y="1948"/>
                    <a:pt x="2602" y="2015"/>
                  </a:cubicBezTo>
                  <a:cubicBezTo>
                    <a:pt x="2587" y="2083"/>
                    <a:pt x="2535" y="2145"/>
                    <a:pt x="2447" y="2145"/>
                  </a:cubicBezTo>
                  <a:cubicBezTo>
                    <a:pt x="2378" y="2145"/>
                    <a:pt x="2332" y="2102"/>
                    <a:pt x="2350" y="2017"/>
                  </a:cubicBezTo>
                  <a:cubicBezTo>
                    <a:pt x="2362" y="1959"/>
                    <a:pt x="2408" y="1888"/>
                    <a:pt x="2503" y="1888"/>
                  </a:cubicBezTo>
                  <a:moveTo>
                    <a:pt x="2460" y="2095"/>
                  </a:moveTo>
                  <a:cubicBezTo>
                    <a:pt x="2491" y="2095"/>
                    <a:pt x="2516" y="2077"/>
                    <a:pt x="2530" y="2012"/>
                  </a:cubicBezTo>
                  <a:cubicBezTo>
                    <a:pt x="2537" y="1980"/>
                    <a:pt x="2540" y="1935"/>
                    <a:pt x="2493" y="1935"/>
                  </a:cubicBezTo>
                  <a:cubicBezTo>
                    <a:pt x="2441" y="1935"/>
                    <a:pt x="2427" y="1995"/>
                    <a:pt x="2423" y="2018"/>
                  </a:cubicBezTo>
                  <a:cubicBezTo>
                    <a:pt x="2411" y="2072"/>
                    <a:pt x="2425" y="2095"/>
                    <a:pt x="2460" y="2095"/>
                  </a:cubicBezTo>
                  <a:moveTo>
                    <a:pt x="2743" y="1894"/>
                  </a:moveTo>
                  <a:cubicBezTo>
                    <a:pt x="2713" y="2038"/>
                    <a:pt x="2713" y="2038"/>
                    <a:pt x="2713" y="2038"/>
                  </a:cubicBezTo>
                  <a:cubicBezTo>
                    <a:pt x="2708" y="2060"/>
                    <a:pt x="2701" y="2092"/>
                    <a:pt x="2740" y="2092"/>
                  </a:cubicBezTo>
                  <a:cubicBezTo>
                    <a:pt x="2785" y="2092"/>
                    <a:pt x="2792" y="2058"/>
                    <a:pt x="2801" y="2016"/>
                  </a:cubicBezTo>
                  <a:cubicBezTo>
                    <a:pt x="2827" y="1894"/>
                    <a:pt x="2827" y="1894"/>
                    <a:pt x="2827" y="1894"/>
                  </a:cubicBezTo>
                  <a:cubicBezTo>
                    <a:pt x="2900" y="1894"/>
                    <a:pt x="2900" y="1894"/>
                    <a:pt x="2900" y="1894"/>
                  </a:cubicBezTo>
                  <a:cubicBezTo>
                    <a:pt x="2867" y="2053"/>
                    <a:pt x="2867" y="2053"/>
                    <a:pt x="2867" y="2053"/>
                  </a:cubicBezTo>
                  <a:cubicBezTo>
                    <a:pt x="2856" y="2106"/>
                    <a:pt x="2855" y="2112"/>
                    <a:pt x="2854" y="2118"/>
                  </a:cubicBezTo>
                  <a:cubicBezTo>
                    <a:pt x="2853" y="2125"/>
                    <a:pt x="2852" y="2130"/>
                    <a:pt x="2852" y="2136"/>
                  </a:cubicBezTo>
                  <a:cubicBezTo>
                    <a:pt x="2783" y="2136"/>
                    <a:pt x="2783" y="2136"/>
                    <a:pt x="2783" y="2136"/>
                  </a:cubicBezTo>
                  <a:cubicBezTo>
                    <a:pt x="2787" y="2104"/>
                    <a:pt x="2787" y="2104"/>
                    <a:pt x="2787" y="2104"/>
                  </a:cubicBezTo>
                  <a:cubicBezTo>
                    <a:pt x="2778" y="2115"/>
                    <a:pt x="2753" y="2143"/>
                    <a:pt x="2707" y="2143"/>
                  </a:cubicBezTo>
                  <a:cubicBezTo>
                    <a:pt x="2675" y="2143"/>
                    <a:pt x="2651" y="2128"/>
                    <a:pt x="2641" y="2110"/>
                  </a:cubicBezTo>
                  <a:cubicBezTo>
                    <a:pt x="2630" y="2090"/>
                    <a:pt x="2637" y="2056"/>
                    <a:pt x="2639" y="2045"/>
                  </a:cubicBezTo>
                  <a:cubicBezTo>
                    <a:pt x="2671" y="1894"/>
                    <a:pt x="2671" y="1894"/>
                    <a:pt x="2671" y="1894"/>
                  </a:cubicBezTo>
                  <a:lnTo>
                    <a:pt x="2743" y="1894"/>
                  </a:lnTo>
                  <a:close/>
                  <a:moveTo>
                    <a:pt x="3181" y="1895"/>
                  </a:moveTo>
                  <a:cubicBezTo>
                    <a:pt x="3175" y="1914"/>
                    <a:pt x="3170" y="1930"/>
                    <a:pt x="3164" y="1955"/>
                  </a:cubicBezTo>
                  <a:cubicBezTo>
                    <a:pt x="3126" y="2134"/>
                    <a:pt x="3126" y="2134"/>
                    <a:pt x="3126" y="2134"/>
                  </a:cubicBezTo>
                  <a:cubicBezTo>
                    <a:pt x="3108" y="2223"/>
                    <a:pt x="3031" y="2232"/>
                    <a:pt x="2985" y="2232"/>
                  </a:cubicBezTo>
                  <a:cubicBezTo>
                    <a:pt x="2950" y="2232"/>
                    <a:pt x="2883" y="2228"/>
                    <a:pt x="2894" y="2154"/>
                  </a:cubicBezTo>
                  <a:cubicBezTo>
                    <a:pt x="2962" y="2154"/>
                    <a:pt x="2962" y="2154"/>
                    <a:pt x="2962" y="2154"/>
                  </a:cubicBezTo>
                  <a:cubicBezTo>
                    <a:pt x="2962" y="2158"/>
                    <a:pt x="2962" y="2166"/>
                    <a:pt x="2966" y="2174"/>
                  </a:cubicBezTo>
                  <a:cubicBezTo>
                    <a:pt x="2970" y="2181"/>
                    <a:pt x="2979" y="2188"/>
                    <a:pt x="2998" y="2188"/>
                  </a:cubicBezTo>
                  <a:cubicBezTo>
                    <a:pt x="3019" y="2188"/>
                    <a:pt x="3040" y="2178"/>
                    <a:pt x="3049" y="2156"/>
                  </a:cubicBezTo>
                  <a:cubicBezTo>
                    <a:pt x="3054" y="2144"/>
                    <a:pt x="3056" y="2135"/>
                    <a:pt x="3064" y="2099"/>
                  </a:cubicBezTo>
                  <a:cubicBezTo>
                    <a:pt x="3036" y="2128"/>
                    <a:pt x="3009" y="2132"/>
                    <a:pt x="2992" y="2132"/>
                  </a:cubicBezTo>
                  <a:cubicBezTo>
                    <a:pt x="2922" y="2132"/>
                    <a:pt x="2903" y="2071"/>
                    <a:pt x="2915" y="2012"/>
                  </a:cubicBezTo>
                  <a:cubicBezTo>
                    <a:pt x="2928" y="1951"/>
                    <a:pt x="2974" y="1892"/>
                    <a:pt x="3044" y="1892"/>
                  </a:cubicBezTo>
                  <a:cubicBezTo>
                    <a:pt x="3088" y="1892"/>
                    <a:pt x="3099" y="1916"/>
                    <a:pt x="3105" y="1927"/>
                  </a:cubicBezTo>
                  <a:cubicBezTo>
                    <a:pt x="3114" y="1895"/>
                    <a:pt x="3114" y="1895"/>
                    <a:pt x="3114" y="1895"/>
                  </a:cubicBezTo>
                  <a:lnTo>
                    <a:pt x="3181" y="1895"/>
                  </a:lnTo>
                  <a:close/>
                  <a:moveTo>
                    <a:pt x="3019" y="2083"/>
                  </a:moveTo>
                  <a:cubicBezTo>
                    <a:pt x="3069" y="2083"/>
                    <a:pt x="3081" y="2025"/>
                    <a:pt x="3083" y="2014"/>
                  </a:cubicBezTo>
                  <a:cubicBezTo>
                    <a:pt x="3089" y="1986"/>
                    <a:pt x="3094" y="1940"/>
                    <a:pt x="3051" y="1940"/>
                  </a:cubicBezTo>
                  <a:cubicBezTo>
                    <a:pt x="3024" y="1940"/>
                    <a:pt x="2997" y="1960"/>
                    <a:pt x="2986" y="2012"/>
                  </a:cubicBezTo>
                  <a:cubicBezTo>
                    <a:pt x="2984" y="2025"/>
                    <a:pt x="2971" y="2083"/>
                    <a:pt x="3019" y="2083"/>
                  </a:cubicBezTo>
                  <a:moveTo>
                    <a:pt x="3257" y="1790"/>
                  </a:moveTo>
                  <a:cubicBezTo>
                    <a:pt x="3327" y="1790"/>
                    <a:pt x="3327" y="1790"/>
                    <a:pt x="3327" y="1790"/>
                  </a:cubicBezTo>
                  <a:cubicBezTo>
                    <a:pt x="3298" y="1927"/>
                    <a:pt x="3298" y="1927"/>
                    <a:pt x="3298" y="1927"/>
                  </a:cubicBezTo>
                  <a:cubicBezTo>
                    <a:pt x="3309" y="1915"/>
                    <a:pt x="3332" y="1890"/>
                    <a:pt x="3376" y="1890"/>
                  </a:cubicBezTo>
                  <a:cubicBezTo>
                    <a:pt x="3412" y="1890"/>
                    <a:pt x="3431" y="1908"/>
                    <a:pt x="3440" y="1923"/>
                  </a:cubicBezTo>
                  <a:cubicBezTo>
                    <a:pt x="3446" y="1935"/>
                    <a:pt x="3448" y="1957"/>
                    <a:pt x="3441" y="1989"/>
                  </a:cubicBezTo>
                  <a:cubicBezTo>
                    <a:pt x="3410" y="2136"/>
                    <a:pt x="3410" y="2136"/>
                    <a:pt x="3410" y="2136"/>
                  </a:cubicBezTo>
                  <a:cubicBezTo>
                    <a:pt x="3340" y="2136"/>
                    <a:pt x="3340" y="2136"/>
                    <a:pt x="3340" y="2136"/>
                  </a:cubicBezTo>
                  <a:cubicBezTo>
                    <a:pt x="3370" y="1991"/>
                    <a:pt x="3370" y="1991"/>
                    <a:pt x="3370" y="1991"/>
                  </a:cubicBezTo>
                  <a:cubicBezTo>
                    <a:pt x="3373" y="1977"/>
                    <a:pt x="3382" y="1938"/>
                    <a:pt x="3342" y="1938"/>
                  </a:cubicBezTo>
                  <a:cubicBezTo>
                    <a:pt x="3322" y="1938"/>
                    <a:pt x="3293" y="1950"/>
                    <a:pt x="3286" y="1988"/>
                  </a:cubicBezTo>
                  <a:cubicBezTo>
                    <a:pt x="3255" y="2136"/>
                    <a:pt x="3255" y="2136"/>
                    <a:pt x="3255" y="2136"/>
                  </a:cubicBezTo>
                  <a:cubicBezTo>
                    <a:pt x="3183" y="2136"/>
                    <a:pt x="3183" y="2136"/>
                    <a:pt x="3183" y="2136"/>
                  </a:cubicBezTo>
                  <a:lnTo>
                    <a:pt x="3257" y="1790"/>
                  </a:lnTo>
                  <a:close/>
                  <a:moveTo>
                    <a:pt x="158" y="1980"/>
                  </a:moveTo>
                  <a:cubicBezTo>
                    <a:pt x="159" y="1971"/>
                    <a:pt x="164" y="1935"/>
                    <a:pt x="137" y="1935"/>
                  </a:cubicBezTo>
                  <a:cubicBezTo>
                    <a:pt x="103" y="1935"/>
                    <a:pt x="89" y="1986"/>
                    <a:pt x="83" y="2012"/>
                  </a:cubicBezTo>
                  <a:cubicBezTo>
                    <a:pt x="80" y="2026"/>
                    <a:pt x="72" y="2069"/>
                    <a:pt x="85" y="2087"/>
                  </a:cubicBezTo>
                  <a:cubicBezTo>
                    <a:pt x="90" y="2094"/>
                    <a:pt x="97" y="2095"/>
                    <a:pt x="102" y="2095"/>
                  </a:cubicBezTo>
                  <a:cubicBezTo>
                    <a:pt x="109" y="2095"/>
                    <a:pt x="133" y="2092"/>
                    <a:pt x="145" y="2048"/>
                  </a:cubicBezTo>
                  <a:cubicBezTo>
                    <a:pt x="215" y="2048"/>
                    <a:pt x="215" y="2048"/>
                    <a:pt x="215" y="2048"/>
                  </a:cubicBezTo>
                  <a:cubicBezTo>
                    <a:pt x="210" y="2067"/>
                    <a:pt x="201" y="2097"/>
                    <a:pt x="168" y="2120"/>
                  </a:cubicBezTo>
                  <a:cubicBezTo>
                    <a:pt x="148" y="2135"/>
                    <a:pt x="124" y="2143"/>
                    <a:pt x="94" y="2143"/>
                  </a:cubicBezTo>
                  <a:cubicBezTo>
                    <a:pt x="62" y="2143"/>
                    <a:pt x="35" y="2135"/>
                    <a:pt x="18" y="2110"/>
                  </a:cubicBezTo>
                  <a:cubicBezTo>
                    <a:pt x="2" y="2086"/>
                    <a:pt x="0" y="2053"/>
                    <a:pt x="8" y="2015"/>
                  </a:cubicBezTo>
                  <a:cubicBezTo>
                    <a:pt x="32" y="1904"/>
                    <a:pt x="116" y="1889"/>
                    <a:pt x="148" y="1889"/>
                  </a:cubicBezTo>
                  <a:cubicBezTo>
                    <a:pt x="193" y="1889"/>
                    <a:pt x="241" y="1914"/>
                    <a:pt x="228" y="1980"/>
                  </a:cubicBezTo>
                  <a:lnTo>
                    <a:pt x="158" y="1980"/>
                  </a:lnTo>
                  <a:close/>
                  <a:moveTo>
                    <a:pt x="3764" y="1980"/>
                  </a:moveTo>
                  <a:cubicBezTo>
                    <a:pt x="3765" y="1971"/>
                    <a:pt x="3770" y="1935"/>
                    <a:pt x="3742" y="1935"/>
                  </a:cubicBezTo>
                  <a:cubicBezTo>
                    <a:pt x="3709" y="1935"/>
                    <a:pt x="3694" y="1986"/>
                    <a:pt x="3688" y="2012"/>
                  </a:cubicBezTo>
                  <a:cubicBezTo>
                    <a:pt x="3685" y="2026"/>
                    <a:pt x="3678" y="2069"/>
                    <a:pt x="3691" y="2087"/>
                  </a:cubicBezTo>
                  <a:cubicBezTo>
                    <a:pt x="3695" y="2094"/>
                    <a:pt x="3703" y="2095"/>
                    <a:pt x="3708" y="2095"/>
                  </a:cubicBezTo>
                  <a:cubicBezTo>
                    <a:pt x="3715" y="2095"/>
                    <a:pt x="3738" y="2092"/>
                    <a:pt x="3751" y="2048"/>
                  </a:cubicBezTo>
                  <a:cubicBezTo>
                    <a:pt x="3820" y="2048"/>
                    <a:pt x="3820" y="2048"/>
                    <a:pt x="3820" y="2048"/>
                  </a:cubicBezTo>
                  <a:cubicBezTo>
                    <a:pt x="3816" y="2067"/>
                    <a:pt x="3807" y="2097"/>
                    <a:pt x="3774" y="2120"/>
                  </a:cubicBezTo>
                  <a:cubicBezTo>
                    <a:pt x="3754" y="2135"/>
                    <a:pt x="3730" y="2143"/>
                    <a:pt x="3700" y="2143"/>
                  </a:cubicBezTo>
                  <a:cubicBezTo>
                    <a:pt x="3668" y="2143"/>
                    <a:pt x="3641" y="2135"/>
                    <a:pt x="3624" y="2110"/>
                  </a:cubicBezTo>
                  <a:cubicBezTo>
                    <a:pt x="3608" y="2086"/>
                    <a:pt x="3606" y="2053"/>
                    <a:pt x="3614" y="2015"/>
                  </a:cubicBezTo>
                  <a:cubicBezTo>
                    <a:pt x="3638" y="1904"/>
                    <a:pt x="3722" y="1889"/>
                    <a:pt x="3754" y="1889"/>
                  </a:cubicBezTo>
                  <a:cubicBezTo>
                    <a:pt x="3799" y="1889"/>
                    <a:pt x="3847" y="1914"/>
                    <a:pt x="3834" y="1980"/>
                  </a:cubicBezTo>
                  <a:lnTo>
                    <a:pt x="3764" y="1980"/>
                  </a:lnTo>
                  <a:close/>
                  <a:moveTo>
                    <a:pt x="4010" y="1888"/>
                  </a:moveTo>
                  <a:cubicBezTo>
                    <a:pt x="4098" y="1888"/>
                    <a:pt x="4123" y="1948"/>
                    <a:pt x="4109" y="2015"/>
                  </a:cubicBezTo>
                  <a:cubicBezTo>
                    <a:pt x="4094" y="2083"/>
                    <a:pt x="4042" y="2145"/>
                    <a:pt x="3954" y="2145"/>
                  </a:cubicBezTo>
                  <a:cubicBezTo>
                    <a:pt x="3884" y="2145"/>
                    <a:pt x="3839" y="2102"/>
                    <a:pt x="3857" y="2017"/>
                  </a:cubicBezTo>
                  <a:cubicBezTo>
                    <a:pt x="3870" y="1959"/>
                    <a:pt x="3914" y="1888"/>
                    <a:pt x="4010" y="1888"/>
                  </a:cubicBezTo>
                  <a:moveTo>
                    <a:pt x="3967" y="2095"/>
                  </a:moveTo>
                  <a:cubicBezTo>
                    <a:pt x="3998" y="2095"/>
                    <a:pt x="4023" y="2077"/>
                    <a:pt x="4037" y="2012"/>
                  </a:cubicBezTo>
                  <a:cubicBezTo>
                    <a:pt x="4044" y="1980"/>
                    <a:pt x="4047" y="1935"/>
                    <a:pt x="4000" y="1935"/>
                  </a:cubicBezTo>
                  <a:cubicBezTo>
                    <a:pt x="3948" y="1935"/>
                    <a:pt x="3935" y="1995"/>
                    <a:pt x="3930" y="2018"/>
                  </a:cubicBezTo>
                  <a:cubicBezTo>
                    <a:pt x="3918" y="2072"/>
                    <a:pt x="3932" y="2095"/>
                    <a:pt x="3967" y="2095"/>
                  </a:cubicBezTo>
                  <a:moveTo>
                    <a:pt x="4173" y="1939"/>
                  </a:moveTo>
                  <a:cubicBezTo>
                    <a:pt x="4176" y="1924"/>
                    <a:pt x="4178" y="1909"/>
                    <a:pt x="4180" y="1894"/>
                  </a:cubicBezTo>
                  <a:cubicBezTo>
                    <a:pt x="4248" y="1894"/>
                    <a:pt x="4248" y="1894"/>
                    <a:pt x="4248" y="1894"/>
                  </a:cubicBezTo>
                  <a:cubicBezTo>
                    <a:pt x="4245" y="1925"/>
                    <a:pt x="4245" y="1925"/>
                    <a:pt x="4245" y="1925"/>
                  </a:cubicBezTo>
                  <a:cubicBezTo>
                    <a:pt x="4254" y="1915"/>
                    <a:pt x="4279" y="1889"/>
                    <a:pt x="4327" y="1889"/>
                  </a:cubicBezTo>
                  <a:cubicBezTo>
                    <a:pt x="4383" y="1889"/>
                    <a:pt x="4392" y="1923"/>
                    <a:pt x="4394" y="1934"/>
                  </a:cubicBezTo>
                  <a:cubicBezTo>
                    <a:pt x="4423" y="1895"/>
                    <a:pt x="4456" y="1889"/>
                    <a:pt x="4481" y="1889"/>
                  </a:cubicBezTo>
                  <a:cubicBezTo>
                    <a:pt x="4530" y="1889"/>
                    <a:pt x="4544" y="1918"/>
                    <a:pt x="4547" y="1928"/>
                  </a:cubicBezTo>
                  <a:cubicBezTo>
                    <a:pt x="4555" y="1949"/>
                    <a:pt x="4548" y="1978"/>
                    <a:pt x="4544" y="1999"/>
                  </a:cubicBezTo>
                  <a:cubicBezTo>
                    <a:pt x="4515" y="2136"/>
                    <a:pt x="4515" y="2136"/>
                    <a:pt x="4515" y="2136"/>
                  </a:cubicBezTo>
                  <a:cubicBezTo>
                    <a:pt x="4443" y="2136"/>
                    <a:pt x="4443" y="2136"/>
                    <a:pt x="4443" y="2136"/>
                  </a:cubicBezTo>
                  <a:cubicBezTo>
                    <a:pt x="4473" y="1994"/>
                    <a:pt x="4473" y="1994"/>
                    <a:pt x="4473" y="1994"/>
                  </a:cubicBezTo>
                  <a:cubicBezTo>
                    <a:pt x="4479" y="1968"/>
                    <a:pt x="4481" y="1939"/>
                    <a:pt x="4444" y="1939"/>
                  </a:cubicBezTo>
                  <a:cubicBezTo>
                    <a:pt x="4401" y="1939"/>
                    <a:pt x="4392" y="1979"/>
                    <a:pt x="4385" y="2015"/>
                  </a:cubicBezTo>
                  <a:cubicBezTo>
                    <a:pt x="4358" y="2136"/>
                    <a:pt x="4358" y="2136"/>
                    <a:pt x="4358" y="2136"/>
                  </a:cubicBezTo>
                  <a:cubicBezTo>
                    <a:pt x="4286" y="2136"/>
                    <a:pt x="4286" y="2136"/>
                    <a:pt x="4286" y="2136"/>
                  </a:cubicBezTo>
                  <a:cubicBezTo>
                    <a:pt x="4318" y="1992"/>
                    <a:pt x="4318" y="1992"/>
                    <a:pt x="4318" y="1992"/>
                  </a:cubicBezTo>
                  <a:cubicBezTo>
                    <a:pt x="4321" y="1974"/>
                    <a:pt x="4328" y="1939"/>
                    <a:pt x="4289" y="1939"/>
                  </a:cubicBezTo>
                  <a:cubicBezTo>
                    <a:pt x="4244" y="1939"/>
                    <a:pt x="4236" y="1977"/>
                    <a:pt x="4232" y="1994"/>
                  </a:cubicBezTo>
                  <a:cubicBezTo>
                    <a:pt x="4202" y="2136"/>
                    <a:pt x="4202" y="2136"/>
                    <a:pt x="4202" y="2136"/>
                  </a:cubicBezTo>
                  <a:cubicBezTo>
                    <a:pt x="4131" y="2136"/>
                    <a:pt x="4131" y="2136"/>
                    <a:pt x="4131" y="2136"/>
                  </a:cubicBezTo>
                  <a:lnTo>
                    <a:pt x="4173" y="1939"/>
                  </a:lnTo>
                  <a:close/>
                  <a:moveTo>
                    <a:pt x="4694" y="1894"/>
                  </a:moveTo>
                  <a:cubicBezTo>
                    <a:pt x="4689" y="1928"/>
                    <a:pt x="4689" y="1928"/>
                    <a:pt x="4689" y="1928"/>
                  </a:cubicBezTo>
                  <a:cubicBezTo>
                    <a:pt x="4719" y="1889"/>
                    <a:pt x="4759" y="1889"/>
                    <a:pt x="4771" y="1889"/>
                  </a:cubicBezTo>
                  <a:cubicBezTo>
                    <a:pt x="4834" y="1889"/>
                    <a:pt x="4862" y="1936"/>
                    <a:pt x="4846" y="2010"/>
                  </a:cubicBezTo>
                  <a:cubicBezTo>
                    <a:pt x="4832" y="2079"/>
                    <a:pt x="4783" y="2140"/>
                    <a:pt x="4713" y="2140"/>
                  </a:cubicBezTo>
                  <a:cubicBezTo>
                    <a:pt x="4669" y="2140"/>
                    <a:pt x="4656" y="2117"/>
                    <a:pt x="4652" y="2109"/>
                  </a:cubicBezTo>
                  <a:cubicBezTo>
                    <a:pt x="4626" y="2229"/>
                    <a:pt x="4626" y="2229"/>
                    <a:pt x="4626" y="2229"/>
                  </a:cubicBezTo>
                  <a:cubicBezTo>
                    <a:pt x="4554" y="2229"/>
                    <a:pt x="4554" y="2229"/>
                    <a:pt x="4554" y="2229"/>
                  </a:cubicBezTo>
                  <a:cubicBezTo>
                    <a:pt x="4625" y="1894"/>
                    <a:pt x="4625" y="1894"/>
                    <a:pt x="4625" y="1894"/>
                  </a:cubicBezTo>
                  <a:lnTo>
                    <a:pt x="4694" y="1894"/>
                  </a:lnTo>
                  <a:close/>
                  <a:moveTo>
                    <a:pt x="4774" y="2013"/>
                  </a:moveTo>
                  <a:cubicBezTo>
                    <a:pt x="4780" y="1984"/>
                    <a:pt x="4783" y="1935"/>
                    <a:pt x="4741" y="1935"/>
                  </a:cubicBezTo>
                  <a:cubicBezTo>
                    <a:pt x="4718" y="1935"/>
                    <a:pt x="4682" y="1952"/>
                    <a:pt x="4668" y="2017"/>
                  </a:cubicBezTo>
                  <a:cubicBezTo>
                    <a:pt x="4665" y="2031"/>
                    <a:pt x="4652" y="2093"/>
                    <a:pt x="4705" y="2093"/>
                  </a:cubicBezTo>
                  <a:cubicBezTo>
                    <a:pt x="4738" y="2093"/>
                    <a:pt x="4763" y="2061"/>
                    <a:pt x="4774" y="2013"/>
                  </a:cubicBezTo>
                  <a:moveTo>
                    <a:pt x="4936" y="1789"/>
                  </a:moveTo>
                  <a:cubicBezTo>
                    <a:pt x="5007" y="1789"/>
                    <a:pt x="5007" y="1789"/>
                    <a:pt x="5007" y="1789"/>
                  </a:cubicBezTo>
                  <a:cubicBezTo>
                    <a:pt x="4933" y="2136"/>
                    <a:pt x="4933" y="2136"/>
                    <a:pt x="4933" y="2136"/>
                  </a:cubicBezTo>
                  <a:cubicBezTo>
                    <a:pt x="4862" y="2136"/>
                    <a:pt x="4862" y="2136"/>
                    <a:pt x="4862" y="2136"/>
                  </a:cubicBezTo>
                  <a:lnTo>
                    <a:pt x="4936" y="1789"/>
                  </a:lnTo>
                  <a:close/>
                  <a:moveTo>
                    <a:pt x="5068" y="2033"/>
                  </a:moveTo>
                  <a:cubicBezTo>
                    <a:pt x="5064" y="2049"/>
                    <a:pt x="5054" y="2098"/>
                    <a:pt x="5104" y="2098"/>
                  </a:cubicBezTo>
                  <a:cubicBezTo>
                    <a:pt x="5121" y="2098"/>
                    <a:pt x="5140" y="2091"/>
                    <a:pt x="5153" y="2064"/>
                  </a:cubicBezTo>
                  <a:cubicBezTo>
                    <a:pt x="5218" y="2064"/>
                    <a:pt x="5218" y="2064"/>
                    <a:pt x="5218" y="2064"/>
                  </a:cubicBezTo>
                  <a:cubicBezTo>
                    <a:pt x="5214" y="2076"/>
                    <a:pt x="5208" y="2097"/>
                    <a:pt x="5184" y="2117"/>
                  </a:cubicBezTo>
                  <a:cubicBezTo>
                    <a:pt x="5162" y="2136"/>
                    <a:pt x="5128" y="2145"/>
                    <a:pt x="5092" y="2145"/>
                  </a:cubicBezTo>
                  <a:cubicBezTo>
                    <a:pt x="5072" y="2145"/>
                    <a:pt x="5033" y="2142"/>
                    <a:pt x="5013" y="2115"/>
                  </a:cubicBezTo>
                  <a:cubicBezTo>
                    <a:pt x="4996" y="2092"/>
                    <a:pt x="4994" y="2060"/>
                    <a:pt x="5002" y="2021"/>
                  </a:cubicBezTo>
                  <a:cubicBezTo>
                    <a:pt x="5011" y="1981"/>
                    <a:pt x="5030" y="1934"/>
                    <a:pt x="5077" y="1906"/>
                  </a:cubicBezTo>
                  <a:cubicBezTo>
                    <a:pt x="5099" y="1893"/>
                    <a:pt x="5123" y="1886"/>
                    <a:pt x="5150" y="1886"/>
                  </a:cubicBezTo>
                  <a:cubicBezTo>
                    <a:pt x="5184" y="1886"/>
                    <a:pt x="5222" y="1899"/>
                    <a:pt x="5235" y="1944"/>
                  </a:cubicBezTo>
                  <a:cubicBezTo>
                    <a:pt x="5244" y="1977"/>
                    <a:pt x="5236" y="2013"/>
                    <a:pt x="5231" y="2033"/>
                  </a:cubicBezTo>
                  <a:lnTo>
                    <a:pt x="5068" y="2033"/>
                  </a:lnTo>
                  <a:close/>
                  <a:moveTo>
                    <a:pt x="5167" y="1988"/>
                  </a:moveTo>
                  <a:cubicBezTo>
                    <a:pt x="5170" y="1977"/>
                    <a:pt x="5178" y="1934"/>
                    <a:pt x="5137" y="1934"/>
                  </a:cubicBezTo>
                  <a:cubicBezTo>
                    <a:pt x="5105" y="1934"/>
                    <a:pt x="5087" y="1960"/>
                    <a:pt x="5080" y="1988"/>
                  </a:cubicBezTo>
                  <a:lnTo>
                    <a:pt x="5167" y="1988"/>
                  </a:lnTo>
                  <a:close/>
                  <a:moveTo>
                    <a:pt x="5353" y="1894"/>
                  </a:moveTo>
                  <a:cubicBezTo>
                    <a:pt x="5382" y="1973"/>
                    <a:pt x="5382" y="1973"/>
                    <a:pt x="5382" y="1973"/>
                  </a:cubicBezTo>
                  <a:cubicBezTo>
                    <a:pt x="5447" y="1894"/>
                    <a:pt x="5447" y="1894"/>
                    <a:pt x="5447" y="1894"/>
                  </a:cubicBezTo>
                  <a:cubicBezTo>
                    <a:pt x="5520" y="1894"/>
                    <a:pt x="5520" y="1894"/>
                    <a:pt x="5520" y="1894"/>
                  </a:cubicBezTo>
                  <a:cubicBezTo>
                    <a:pt x="5417" y="2012"/>
                    <a:pt x="5417" y="2012"/>
                    <a:pt x="5417" y="2012"/>
                  </a:cubicBezTo>
                  <a:cubicBezTo>
                    <a:pt x="5471" y="2136"/>
                    <a:pt x="5471" y="2136"/>
                    <a:pt x="5471" y="2136"/>
                  </a:cubicBezTo>
                  <a:cubicBezTo>
                    <a:pt x="5388" y="2136"/>
                    <a:pt x="5388" y="2136"/>
                    <a:pt x="5388" y="2136"/>
                  </a:cubicBezTo>
                  <a:cubicBezTo>
                    <a:pt x="5357" y="2047"/>
                    <a:pt x="5357" y="2047"/>
                    <a:pt x="5357" y="2047"/>
                  </a:cubicBezTo>
                  <a:cubicBezTo>
                    <a:pt x="5289" y="2136"/>
                    <a:pt x="5289" y="2136"/>
                    <a:pt x="5289" y="2136"/>
                  </a:cubicBezTo>
                  <a:cubicBezTo>
                    <a:pt x="5214" y="2136"/>
                    <a:pt x="5214" y="2136"/>
                    <a:pt x="5214" y="2136"/>
                  </a:cubicBezTo>
                  <a:cubicBezTo>
                    <a:pt x="5323" y="2006"/>
                    <a:pt x="5323" y="2006"/>
                    <a:pt x="5323" y="2006"/>
                  </a:cubicBezTo>
                  <a:cubicBezTo>
                    <a:pt x="5269" y="1894"/>
                    <a:pt x="5269" y="1894"/>
                    <a:pt x="5269" y="1894"/>
                  </a:cubicBezTo>
                  <a:lnTo>
                    <a:pt x="5353" y="1894"/>
                  </a:lnTo>
                  <a:close/>
                  <a:moveTo>
                    <a:pt x="5553" y="1893"/>
                  </a:moveTo>
                  <a:cubicBezTo>
                    <a:pt x="5625" y="1893"/>
                    <a:pt x="5625" y="1893"/>
                    <a:pt x="5625" y="1893"/>
                  </a:cubicBezTo>
                  <a:cubicBezTo>
                    <a:pt x="5573" y="2136"/>
                    <a:pt x="5573" y="2136"/>
                    <a:pt x="5573" y="2136"/>
                  </a:cubicBezTo>
                  <a:cubicBezTo>
                    <a:pt x="5501" y="2136"/>
                    <a:pt x="5501" y="2136"/>
                    <a:pt x="5501" y="2136"/>
                  </a:cubicBezTo>
                  <a:lnTo>
                    <a:pt x="5553" y="1893"/>
                  </a:lnTo>
                  <a:close/>
                  <a:moveTo>
                    <a:pt x="5573" y="1790"/>
                  </a:moveTo>
                  <a:cubicBezTo>
                    <a:pt x="5648" y="1790"/>
                    <a:pt x="5648" y="1790"/>
                    <a:pt x="5648" y="1790"/>
                  </a:cubicBezTo>
                  <a:cubicBezTo>
                    <a:pt x="5636" y="1851"/>
                    <a:pt x="5636" y="1851"/>
                    <a:pt x="5636" y="1851"/>
                  </a:cubicBezTo>
                  <a:cubicBezTo>
                    <a:pt x="5560" y="1851"/>
                    <a:pt x="5560" y="1851"/>
                    <a:pt x="5560" y="1851"/>
                  </a:cubicBezTo>
                  <a:lnTo>
                    <a:pt x="5573" y="1790"/>
                  </a:lnTo>
                  <a:close/>
                  <a:moveTo>
                    <a:pt x="5775" y="2133"/>
                  </a:moveTo>
                  <a:cubicBezTo>
                    <a:pt x="5752" y="2139"/>
                    <a:pt x="5730" y="2141"/>
                    <a:pt x="5719" y="2141"/>
                  </a:cubicBezTo>
                  <a:cubicBezTo>
                    <a:pt x="5647" y="2141"/>
                    <a:pt x="5657" y="2095"/>
                    <a:pt x="5662" y="2075"/>
                  </a:cubicBezTo>
                  <a:cubicBezTo>
                    <a:pt x="5689" y="1942"/>
                    <a:pt x="5689" y="1942"/>
                    <a:pt x="5689" y="1942"/>
                  </a:cubicBezTo>
                  <a:cubicBezTo>
                    <a:pt x="5643" y="1942"/>
                    <a:pt x="5643" y="1942"/>
                    <a:pt x="5643" y="1942"/>
                  </a:cubicBezTo>
                  <a:cubicBezTo>
                    <a:pt x="5653" y="1895"/>
                    <a:pt x="5653" y="1895"/>
                    <a:pt x="5653" y="1895"/>
                  </a:cubicBezTo>
                  <a:cubicBezTo>
                    <a:pt x="5700" y="1895"/>
                    <a:pt x="5700" y="1895"/>
                    <a:pt x="5700" y="1895"/>
                  </a:cubicBezTo>
                  <a:cubicBezTo>
                    <a:pt x="5710" y="1848"/>
                    <a:pt x="5710" y="1848"/>
                    <a:pt x="5710" y="1848"/>
                  </a:cubicBezTo>
                  <a:cubicBezTo>
                    <a:pt x="5786" y="1822"/>
                    <a:pt x="5786" y="1822"/>
                    <a:pt x="5786" y="1822"/>
                  </a:cubicBezTo>
                  <a:cubicBezTo>
                    <a:pt x="5770" y="1895"/>
                    <a:pt x="5770" y="1895"/>
                    <a:pt x="5770" y="1895"/>
                  </a:cubicBezTo>
                  <a:cubicBezTo>
                    <a:pt x="5828" y="1895"/>
                    <a:pt x="5828" y="1895"/>
                    <a:pt x="5828" y="1895"/>
                  </a:cubicBezTo>
                  <a:cubicBezTo>
                    <a:pt x="5818" y="1942"/>
                    <a:pt x="5818" y="1942"/>
                    <a:pt x="5818" y="1942"/>
                  </a:cubicBezTo>
                  <a:cubicBezTo>
                    <a:pt x="5760" y="1942"/>
                    <a:pt x="5760" y="1942"/>
                    <a:pt x="5760" y="1942"/>
                  </a:cubicBezTo>
                  <a:cubicBezTo>
                    <a:pt x="5736" y="2052"/>
                    <a:pt x="5736" y="2052"/>
                    <a:pt x="5736" y="2052"/>
                  </a:cubicBezTo>
                  <a:cubicBezTo>
                    <a:pt x="5733" y="2074"/>
                    <a:pt x="5729" y="2088"/>
                    <a:pt x="5761" y="2088"/>
                  </a:cubicBezTo>
                  <a:cubicBezTo>
                    <a:pt x="5772" y="2088"/>
                    <a:pt x="5777" y="2087"/>
                    <a:pt x="5786" y="2086"/>
                  </a:cubicBezTo>
                  <a:lnTo>
                    <a:pt x="5775" y="2133"/>
                  </a:lnTo>
                  <a:close/>
                  <a:moveTo>
                    <a:pt x="5921" y="1894"/>
                  </a:moveTo>
                  <a:cubicBezTo>
                    <a:pt x="5939" y="2062"/>
                    <a:pt x="5939" y="2062"/>
                    <a:pt x="5939" y="2062"/>
                  </a:cubicBezTo>
                  <a:cubicBezTo>
                    <a:pt x="6028" y="1894"/>
                    <a:pt x="6028" y="1894"/>
                    <a:pt x="6028" y="1894"/>
                  </a:cubicBezTo>
                  <a:cubicBezTo>
                    <a:pt x="6099" y="1894"/>
                    <a:pt x="6099" y="1894"/>
                    <a:pt x="6099" y="1894"/>
                  </a:cubicBezTo>
                  <a:cubicBezTo>
                    <a:pt x="5957" y="2132"/>
                    <a:pt x="5957" y="2132"/>
                    <a:pt x="5957" y="2132"/>
                  </a:cubicBezTo>
                  <a:cubicBezTo>
                    <a:pt x="5907" y="2229"/>
                    <a:pt x="5907" y="2229"/>
                    <a:pt x="5907" y="2229"/>
                  </a:cubicBezTo>
                  <a:cubicBezTo>
                    <a:pt x="5835" y="2229"/>
                    <a:pt x="5835" y="2229"/>
                    <a:pt x="5835" y="2229"/>
                  </a:cubicBezTo>
                  <a:cubicBezTo>
                    <a:pt x="5886" y="2137"/>
                    <a:pt x="5886" y="2137"/>
                    <a:pt x="5886" y="2137"/>
                  </a:cubicBezTo>
                  <a:cubicBezTo>
                    <a:pt x="5844" y="1894"/>
                    <a:pt x="5844" y="1894"/>
                    <a:pt x="5844" y="1894"/>
                  </a:cubicBezTo>
                  <a:lnTo>
                    <a:pt x="5921" y="1894"/>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noAutofit/>
            </a:bodyPr>
            <a:lstStyle/>
            <a:p>
              <a:pPr algn="ctr" defTabSz="685783"/>
              <a:endParaRPr lang="en-GB">
                <a:solidFill>
                  <a:srgbClr val="000000"/>
                </a:solidFill>
                <a:cs typeface="Arial" charset="0"/>
              </a:endParaRPr>
            </a:p>
          </p:txBody>
        </p:sp>
        <p:sp>
          <p:nvSpPr>
            <p:cNvPr id="10" name="Freeform 15"/>
            <p:cNvSpPr>
              <a:spLocks noChangeAspect="1" noEditPoints="1"/>
            </p:cNvSpPr>
            <p:nvPr userDrawn="1"/>
          </p:nvSpPr>
          <p:spPr bwMode="hidden">
            <a:xfrm>
              <a:off x="128464" y="1"/>
              <a:ext cx="2160000" cy="1275101"/>
            </a:xfrm>
            <a:custGeom>
              <a:avLst/>
              <a:gdLst/>
              <a:ahLst/>
              <a:cxnLst>
                <a:cxn ang="0">
                  <a:pos x="176" y="248"/>
                </a:cxn>
                <a:cxn ang="0">
                  <a:pos x="0" y="248"/>
                </a:cxn>
                <a:cxn ang="0">
                  <a:pos x="0" y="0"/>
                </a:cxn>
                <a:cxn ang="0">
                  <a:pos x="176" y="0"/>
                </a:cxn>
                <a:cxn ang="0">
                  <a:pos x="176" y="248"/>
                </a:cxn>
                <a:cxn ang="0">
                  <a:pos x="176" y="716"/>
                </a:cxn>
                <a:cxn ang="0">
                  <a:pos x="0" y="716"/>
                </a:cxn>
                <a:cxn ang="0">
                  <a:pos x="0" y="964"/>
                </a:cxn>
                <a:cxn ang="0">
                  <a:pos x="176" y="964"/>
                </a:cxn>
                <a:cxn ang="0">
                  <a:pos x="176" y="716"/>
                </a:cxn>
                <a:cxn ang="0">
                  <a:pos x="1633" y="0"/>
                </a:cxn>
                <a:cxn ang="0">
                  <a:pos x="1457" y="0"/>
                </a:cxn>
                <a:cxn ang="0">
                  <a:pos x="1457" y="248"/>
                </a:cxn>
                <a:cxn ang="0">
                  <a:pos x="1633" y="248"/>
                </a:cxn>
                <a:cxn ang="0">
                  <a:pos x="1633" y="0"/>
                </a:cxn>
                <a:cxn ang="0">
                  <a:pos x="1633" y="716"/>
                </a:cxn>
                <a:cxn ang="0">
                  <a:pos x="1457" y="716"/>
                </a:cxn>
                <a:cxn ang="0">
                  <a:pos x="1457" y="964"/>
                </a:cxn>
                <a:cxn ang="0">
                  <a:pos x="1633" y="964"/>
                </a:cxn>
                <a:cxn ang="0">
                  <a:pos x="1633" y="716"/>
                </a:cxn>
              </a:cxnLst>
              <a:rect l="0" t="0" r="r" b="b"/>
              <a:pathLst>
                <a:path w="1633" h="964">
                  <a:moveTo>
                    <a:pt x="176" y="248"/>
                  </a:moveTo>
                  <a:lnTo>
                    <a:pt x="0" y="248"/>
                  </a:lnTo>
                  <a:lnTo>
                    <a:pt x="0" y="0"/>
                  </a:lnTo>
                  <a:lnTo>
                    <a:pt x="176" y="0"/>
                  </a:lnTo>
                  <a:lnTo>
                    <a:pt x="176" y="248"/>
                  </a:lnTo>
                  <a:close/>
                  <a:moveTo>
                    <a:pt x="176" y="716"/>
                  </a:moveTo>
                  <a:lnTo>
                    <a:pt x="0" y="716"/>
                  </a:lnTo>
                  <a:lnTo>
                    <a:pt x="0" y="964"/>
                  </a:lnTo>
                  <a:lnTo>
                    <a:pt x="176" y="964"/>
                  </a:lnTo>
                  <a:lnTo>
                    <a:pt x="176" y="716"/>
                  </a:lnTo>
                  <a:close/>
                  <a:moveTo>
                    <a:pt x="1633" y="0"/>
                  </a:moveTo>
                  <a:lnTo>
                    <a:pt x="1457" y="0"/>
                  </a:lnTo>
                  <a:lnTo>
                    <a:pt x="1457" y="248"/>
                  </a:lnTo>
                  <a:lnTo>
                    <a:pt x="1633" y="248"/>
                  </a:lnTo>
                  <a:lnTo>
                    <a:pt x="1633" y="0"/>
                  </a:lnTo>
                  <a:close/>
                  <a:moveTo>
                    <a:pt x="1633" y="716"/>
                  </a:moveTo>
                  <a:lnTo>
                    <a:pt x="1457" y="716"/>
                  </a:lnTo>
                  <a:lnTo>
                    <a:pt x="1457" y="964"/>
                  </a:lnTo>
                  <a:lnTo>
                    <a:pt x="1633" y="964"/>
                  </a:lnTo>
                  <a:lnTo>
                    <a:pt x="1633" y="716"/>
                  </a:lnTo>
                  <a:close/>
                </a:path>
              </a:pathLst>
            </a:custGeom>
            <a:noFill/>
            <a:ln w="9525">
              <a:noFill/>
              <a:round/>
              <a:headEnd/>
              <a:tailEnd/>
            </a:ln>
          </p:spPr>
          <p:txBody>
            <a:bodyPr vert="horz" wrap="square" lIns="91440" tIns="45720" rIns="91440" bIns="45720" numCol="1" anchor="t" anchorCtr="0" compatLnSpc="1">
              <a:prstTxWarp prst="textNoShape">
                <a:avLst/>
              </a:prstTxWarp>
              <a:noAutofit/>
            </a:bodyPr>
            <a:lstStyle/>
            <a:p>
              <a:pPr algn="ctr" defTabSz="685783"/>
              <a:endParaRPr lang="en-GB" dirty="0">
                <a:solidFill>
                  <a:srgbClr val="000000"/>
                </a:solidFill>
                <a:cs typeface="Arial" charset="0"/>
              </a:endParaRPr>
            </a:p>
          </p:txBody>
        </p:sp>
      </p:grpSp>
    </p:spTree>
    <p:extLst>
      <p:ext uri="{BB962C8B-B14F-4D97-AF65-F5344CB8AC3E}">
        <p14:creationId xmlns:p14="http://schemas.microsoft.com/office/powerpoint/2010/main" val="344875705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4">
    <p:spTree>
      <p:nvGrpSpPr>
        <p:cNvPr id="1" name=""/>
        <p:cNvGrpSpPr/>
        <p:nvPr/>
      </p:nvGrpSpPr>
      <p:grpSpPr>
        <a:xfrm>
          <a:off x="0" y="0"/>
          <a:ext cx="0" cy="0"/>
          <a:chOff x="0" y="0"/>
          <a:chExt cx="0" cy="0"/>
        </a:xfrm>
      </p:grpSpPr>
      <p:grpSp>
        <p:nvGrpSpPr>
          <p:cNvPr id="4" name="Group 26"/>
          <p:cNvGrpSpPr>
            <a:grpSpLocks noChangeAspect="1"/>
          </p:cNvGrpSpPr>
          <p:nvPr userDrawn="1"/>
        </p:nvGrpSpPr>
        <p:grpSpPr bwMode="auto">
          <a:xfrm>
            <a:off x="0" y="0"/>
            <a:ext cx="9144000" cy="5143500"/>
            <a:chOff x="0" y="942"/>
            <a:chExt cx="5758" cy="2901"/>
          </a:xfrm>
        </p:grpSpPr>
        <p:sp>
          <p:nvSpPr>
            <p:cNvPr id="5" name="Freeform 19"/>
            <p:cNvSpPr>
              <a:spLocks noChangeAspect="1"/>
            </p:cNvSpPr>
            <p:nvPr userDrawn="1"/>
          </p:nvSpPr>
          <p:spPr bwMode="gray">
            <a:xfrm>
              <a:off x="0" y="942"/>
              <a:ext cx="2879" cy="1452"/>
            </a:xfrm>
            <a:custGeom>
              <a:avLst/>
              <a:gdLst/>
              <a:ahLst/>
              <a:cxnLst>
                <a:cxn ang="0">
                  <a:pos x="2879" y="0"/>
                </a:cxn>
                <a:cxn ang="0">
                  <a:pos x="0" y="0"/>
                </a:cxn>
                <a:cxn ang="0">
                  <a:pos x="0" y="1621"/>
                </a:cxn>
                <a:cxn ang="0">
                  <a:pos x="2399" y="1621"/>
                </a:cxn>
                <a:cxn ang="0">
                  <a:pos x="2879" y="0"/>
                </a:cxn>
              </a:cxnLst>
              <a:rect l="0" t="0" r="r" b="b"/>
              <a:pathLst>
                <a:path w="2879" h="1621">
                  <a:moveTo>
                    <a:pt x="2879" y="0"/>
                  </a:moveTo>
                  <a:lnTo>
                    <a:pt x="0" y="0"/>
                  </a:lnTo>
                  <a:lnTo>
                    <a:pt x="0" y="1621"/>
                  </a:lnTo>
                  <a:lnTo>
                    <a:pt x="2399" y="1621"/>
                  </a:lnTo>
                  <a:lnTo>
                    <a:pt x="2879" y="0"/>
                  </a:lnTo>
                  <a:close/>
                </a:path>
              </a:pathLst>
            </a:custGeom>
            <a:gradFill rotWithShape="1">
              <a:gsLst>
                <a:gs pos="0">
                  <a:srgbClr val="00257A">
                    <a:alpha val="89999"/>
                  </a:srgbClr>
                </a:gs>
                <a:gs pos="35001">
                  <a:srgbClr val="00338D">
                    <a:alpha val="89999"/>
                  </a:srgbClr>
                </a:gs>
                <a:gs pos="100000">
                  <a:srgbClr val="009FDA">
                    <a:alpha val="89999"/>
                  </a:srgbClr>
                </a:gs>
              </a:gsLst>
              <a:lin ang="0" scaled="1"/>
            </a:gradFill>
            <a:ln w="9525" cap="flat" cmpd="sng">
              <a:noFill/>
              <a:prstDash val="solid"/>
              <a:round/>
              <a:headEnd type="none" w="med" len="med"/>
              <a:tailEnd type="none" w="med" len="med"/>
            </a:ln>
            <a:effectLst/>
          </p:spPr>
          <p:txBody>
            <a:bodyPr>
              <a:noAutofit/>
            </a:bodyPr>
            <a:lstStyle/>
            <a:p>
              <a:pPr algn="ctr" defTabSz="685783"/>
              <a:endParaRPr lang="en-GB">
                <a:solidFill>
                  <a:srgbClr val="000000"/>
                </a:solidFill>
                <a:cs typeface="Arial" charset="0"/>
              </a:endParaRPr>
            </a:p>
          </p:txBody>
        </p:sp>
        <p:sp>
          <p:nvSpPr>
            <p:cNvPr id="6" name="Freeform 20"/>
            <p:cNvSpPr>
              <a:spLocks noChangeAspect="1"/>
            </p:cNvSpPr>
            <p:nvPr userDrawn="1"/>
          </p:nvSpPr>
          <p:spPr bwMode="gray">
            <a:xfrm>
              <a:off x="1434" y="1784"/>
              <a:ext cx="4324" cy="2059"/>
            </a:xfrm>
            <a:custGeom>
              <a:avLst/>
              <a:gdLst/>
              <a:ahLst/>
              <a:cxnLst>
                <a:cxn ang="0">
                  <a:pos x="4324" y="0"/>
                </a:cxn>
                <a:cxn ang="0">
                  <a:pos x="681" y="0"/>
                </a:cxn>
                <a:cxn ang="0">
                  <a:pos x="0" y="2299"/>
                </a:cxn>
                <a:cxn ang="0">
                  <a:pos x="4324" y="2299"/>
                </a:cxn>
                <a:cxn ang="0">
                  <a:pos x="4324" y="0"/>
                </a:cxn>
              </a:cxnLst>
              <a:rect l="0" t="0" r="r" b="b"/>
              <a:pathLst>
                <a:path w="4324" h="2299">
                  <a:moveTo>
                    <a:pt x="4324" y="0"/>
                  </a:moveTo>
                  <a:lnTo>
                    <a:pt x="681" y="0"/>
                  </a:lnTo>
                  <a:lnTo>
                    <a:pt x="0" y="2299"/>
                  </a:lnTo>
                  <a:lnTo>
                    <a:pt x="4324" y="2299"/>
                  </a:lnTo>
                  <a:lnTo>
                    <a:pt x="4324" y="0"/>
                  </a:lnTo>
                  <a:close/>
                </a:path>
              </a:pathLst>
            </a:custGeom>
            <a:gradFill rotWithShape="1">
              <a:gsLst>
                <a:gs pos="0">
                  <a:srgbClr val="00257A">
                    <a:alpha val="89999"/>
                  </a:srgbClr>
                </a:gs>
                <a:gs pos="35001">
                  <a:srgbClr val="00338D">
                    <a:alpha val="89999"/>
                  </a:srgbClr>
                </a:gs>
                <a:gs pos="100000">
                  <a:srgbClr val="009FDA">
                    <a:alpha val="89999"/>
                  </a:srgbClr>
                </a:gs>
              </a:gsLst>
              <a:lin ang="0" scaled="1"/>
            </a:gradFill>
            <a:ln w="9525" cap="flat" cmpd="sng">
              <a:noFill/>
              <a:prstDash val="solid"/>
              <a:round/>
              <a:headEnd type="none" w="med" len="med"/>
              <a:tailEnd type="none" w="med" len="med"/>
            </a:ln>
            <a:effectLst/>
          </p:spPr>
          <p:txBody>
            <a:bodyPr>
              <a:noAutofit/>
            </a:bodyPr>
            <a:lstStyle/>
            <a:p>
              <a:pPr algn="ctr" defTabSz="685783"/>
              <a:endParaRPr lang="en-GB">
                <a:solidFill>
                  <a:srgbClr val="000000"/>
                </a:solidFill>
                <a:cs typeface="Arial" charset="0"/>
              </a:endParaRPr>
            </a:p>
          </p:txBody>
        </p:sp>
        <p:sp>
          <p:nvSpPr>
            <p:cNvPr id="7" name="Freeform 21"/>
            <p:cNvSpPr>
              <a:spLocks noChangeAspect="1"/>
            </p:cNvSpPr>
            <p:nvPr userDrawn="1"/>
          </p:nvSpPr>
          <p:spPr bwMode="gray">
            <a:xfrm>
              <a:off x="1913" y="1784"/>
              <a:ext cx="688" cy="610"/>
            </a:xfrm>
            <a:custGeom>
              <a:avLst/>
              <a:gdLst/>
              <a:ahLst/>
              <a:cxnLst>
                <a:cxn ang="0">
                  <a:pos x="0" y="681"/>
                </a:cxn>
                <a:cxn ang="0">
                  <a:pos x="486" y="681"/>
                </a:cxn>
                <a:cxn ang="0">
                  <a:pos x="688" y="0"/>
                </a:cxn>
                <a:cxn ang="0">
                  <a:pos x="202" y="0"/>
                </a:cxn>
                <a:cxn ang="0">
                  <a:pos x="0" y="681"/>
                </a:cxn>
              </a:cxnLst>
              <a:rect l="0" t="0" r="r" b="b"/>
              <a:pathLst>
                <a:path w="688" h="681">
                  <a:moveTo>
                    <a:pt x="0" y="681"/>
                  </a:moveTo>
                  <a:lnTo>
                    <a:pt x="486" y="681"/>
                  </a:lnTo>
                  <a:lnTo>
                    <a:pt x="688" y="0"/>
                  </a:lnTo>
                  <a:lnTo>
                    <a:pt x="202" y="0"/>
                  </a:lnTo>
                  <a:lnTo>
                    <a:pt x="0" y="681"/>
                  </a:lnTo>
                  <a:close/>
                </a:path>
              </a:pathLst>
            </a:custGeom>
            <a:solidFill>
              <a:srgbClr val="00257A"/>
            </a:solidFill>
            <a:ln w="9525" cap="flat" cmpd="sng">
              <a:noFill/>
              <a:prstDash val="solid"/>
              <a:round/>
              <a:headEnd type="none" w="med" len="med"/>
              <a:tailEnd type="none" w="med" len="med"/>
            </a:ln>
            <a:effectLst/>
          </p:spPr>
          <p:txBody>
            <a:bodyPr>
              <a:noAutofit/>
            </a:bodyPr>
            <a:lstStyle/>
            <a:p>
              <a:pPr algn="ctr" defTabSz="685783"/>
              <a:endParaRPr lang="en-GB">
                <a:solidFill>
                  <a:srgbClr val="000000"/>
                </a:solidFill>
                <a:cs typeface="Arial" charset="0"/>
              </a:endParaRPr>
            </a:p>
          </p:txBody>
        </p:sp>
      </p:grpSp>
      <p:sp>
        <p:nvSpPr>
          <p:cNvPr id="20" name="Title 19"/>
          <p:cNvSpPr>
            <a:spLocks noGrp="1"/>
          </p:cNvSpPr>
          <p:nvPr>
            <p:ph type="title"/>
          </p:nvPr>
        </p:nvSpPr>
        <p:spPr bwMode="gray">
          <a:xfrm>
            <a:off x="4283968" y="2139702"/>
            <a:ext cx="4536504" cy="1440160"/>
          </a:xfrm>
        </p:spPr>
        <p:txBody>
          <a:bodyPr anchor="t">
            <a:noAutofit/>
          </a:bodyPr>
          <a:lstStyle>
            <a:lvl1pPr algn="r">
              <a:defRPr sz="3000"/>
            </a:lvl1pPr>
          </a:lstStyle>
          <a:p>
            <a:r>
              <a:rPr lang="en-US"/>
              <a:t>Click to edit Master title style</a:t>
            </a:r>
            <a:endParaRPr lang="en-GB" dirty="0"/>
          </a:p>
        </p:txBody>
      </p:sp>
      <p:sp>
        <p:nvSpPr>
          <p:cNvPr id="22" name="Text Placeholder 21"/>
          <p:cNvSpPr>
            <a:spLocks noGrp="1"/>
          </p:cNvSpPr>
          <p:nvPr>
            <p:ph type="body" sz="quarter" idx="10"/>
          </p:nvPr>
        </p:nvSpPr>
        <p:spPr bwMode="gray">
          <a:xfrm>
            <a:off x="4283968" y="3939903"/>
            <a:ext cx="4536504" cy="792088"/>
          </a:xfrm>
        </p:spPr>
        <p:txBody>
          <a:bodyPr>
            <a:noAutofit/>
          </a:bodyPr>
          <a:lstStyle>
            <a:lvl1pPr algn="r">
              <a:defRPr sz="1200" b="0">
                <a:solidFill>
                  <a:schemeClr val="bg1"/>
                </a:solidFill>
              </a:defRPr>
            </a:lvl1pPr>
          </a:lstStyle>
          <a:p>
            <a:pPr lvl="0"/>
            <a:r>
              <a:rPr lang="en-US"/>
              <a:t>Click to edit Master text styles</a:t>
            </a:r>
          </a:p>
        </p:txBody>
      </p:sp>
      <p:grpSp>
        <p:nvGrpSpPr>
          <p:cNvPr id="17" name="Group 16"/>
          <p:cNvGrpSpPr>
            <a:grpSpLocks noChangeAspect="1"/>
          </p:cNvGrpSpPr>
          <p:nvPr userDrawn="1"/>
        </p:nvGrpSpPr>
        <p:grpSpPr>
          <a:xfrm>
            <a:off x="180000" y="1"/>
            <a:ext cx="2049042" cy="1209600"/>
            <a:chOff x="128464" y="1"/>
            <a:chExt cx="2160000" cy="1275101"/>
          </a:xfrm>
        </p:grpSpPr>
        <p:sp>
          <p:nvSpPr>
            <p:cNvPr id="18" name="Freeform 14"/>
            <p:cNvSpPr>
              <a:spLocks noChangeAspect="1" noEditPoints="1"/>
            </p:cNvSpPr>
            <p:nvPr userDrawn="1"/>
          </p:nvSpPr>
          <p:spPr bwMode="white">
            <a:xfrm>
              <a:off x="301741" y="328035"/>
              <a:ext cx="1765830" cy="646810"/>
            </a:xfrm>
            <a:custGeom>
              <a:avLst/>
              <a:gdLst/>
              <a:ahLst/>
              <a:cxnLst>
                <a:cxn ang="0">
                  <a:pos x="2851" y="1035"/>
                </a:cxn>
                <a:cxn ang="0">
                  <a:pos x="3588" y="28"/>
                </a:cxn>
                <a:cxn ang="0">
                  <a:pos x="2718" y="826"/>
                </a:cxn>
                <a:cxn ang="0">
                  <a:pos x="1973" y="28"/>
                </a:cxn>
                <a:cxn ang="0">
                  <a:pos x="1663" y="659"/>
                </a:cxn>
                <a:cxn ang="0">
                  <a:pos x="1850" y="28"/>
                </a:cxn>
                <a:cxn ang="0">
                  <a:pos x="1165" y="1000"/>
                </a:cxn>
                <a:cxn ang="0">
                  <a:pos x="1334" y="806"/>
                </a:cxn>
                <a:cxn ang="0">
                  <a:pos x="479" y="1047"/>
                </a:cxn>
                <a:cxn ang="0">
                  <a:pos x="980" y="699"/>
                </a:cxn>
                <a:cxn ang="0">
                  <a:pos x="2747" y="0"/>
                </a:cxn>
                <a:cxn ang="0">
                  <a:pos x="1009" y="0"/>
                </a:cxn>
                <a:cxn ang="0">
                  <a:pos x="665" y="1435"/>
                </a:cxn>
                <a:cxn ang="0">
                  <a:pos x="1150" y="1133"/>
                </a:cxn>
                <a:cxn ang="0">
                  <a:pos x="1980" y="1434"/>
                </a:cxn>
                <a:cxn ang="0">
                  <a:pos x="2963" y="1451"/>
                </a:cxn>
                <a:cxn ang="0">
                  <a:pos x="348" y="2092"/>
                </a:cxn>
                <a:cxn ang="0">
                  <a:pos x="395" y="2104"/>
                </a:cxn>
                <a:cxn ang="0">
                  <a:pos x="880" y="1895"/>
                </a:cxn>
                <a:cxn ang="0">
                  <a:pos x="584" y="1895"/>
                </a:cxn>
                <a:cxn ang="0">
                  <a:pos x="645" y="2088"/>
                </a:cxn>
                <a:cxn ang="0">
                  <a:pos x="813" y="2088"/>
                </a:cxn>
                <a:cxn ang="0">
                  <a:pos x="935" y="1790"/>
                </a:cxn>
                <a:cxn ang="0">
                  <a:pos x="1104" y="1929"/>
                </a:cxn>
                <a:cxn ang="0">
                  <a:pos x="1151" y="1938"/>
                </a:cxn>
                <a:cxn ang="0">
                  <a:pos x="1504" y="2134"/>
                </a:cxn>
                <a:cxn ang="0">
                  <a:pos x="1370" y="2132"/>
                </a:cxn>
                <a:cxn ang="0">
                  <a:pos x="1428" y="1940"/>
                </a:cxn>
                <a:cxn ang="0">
                  <a:pos x="1719" y="1895"/>
                </a:cxn>
                <a:cxn ang="0">
                  <a:pos x="1803" y="2052"/>
                </a:cxn>
                <a:cxn ang="0">
                  <a:pos x="2137" y="1923"/>
                </a:cxn>
                <a:cxn ang="0">
                  <a:pos x="1881" y="2136"/>
                </a:cxn>
                <a:cxn ang="0">
                  <a:pos x="2253" y="2017"/>
                </a:cxn>
                <a:cxn ang="0">
                  <a:pos x="2503" y="1888"/>
                </a:cxn>
                <a:cxn ang="0">
                  <a:pos x="2740" y="2092"/>
                </a:cxn>
                <a:cxn ang="0">
                  <a:pos x="2787" y="2104"/>
                </a:cxn>
                <a:cxn ang="0">
                  <a:pos x="3126" y="2134"/>
                </a:cxn>
                <a:cxn ang="0">
                  <a:pos x="2992" y="2132"/>
                </a:cxn>
                <a:cxn ang="0">
                  <a:pos x="3051" y="1940"/>
                </a:cxn>
                <a:cxn ang="0">
                  <a:pos x="3441" y="1989"/>
                </a:cxn>
                <a:cxn ang="0">
                  <a:pos x="3257" y="1790"/>
                </a:cxn>
                <a:cxn ang="0">
                  <a:pos x="168" y="2120"/>
                </a:cxn>
                <a:cxn ang="0">
                  <a:pos x="3742" y="1935"/>
                </a:cxn>
                <a:cxn ang="0">
                  <a:pos x="3624" y="2110"/>
                </a:cxn>
                <a:cxn ang="0">
                  <a:pos x="3857" y="2017"/>
                </a:cxn>
                <a:cxn ang="0">
                  <a:pos x="4180" y="1894"/>
                </a:cxn>
                <a:cxn ang="0">
                  <a:pos x="4515" y="2136"/>
                </a:cxn>
                <a:cxn ang="0">
                  <a:pos x="4289" y="1939"/>
                </a:cxn>
                <a:cxn ang="0">
                  <a:pos x="4846" y="2010"/>
                </a:cxn>
                <a:cxn ang="0">
                  <a:pos x="4741" y="1935"/>
                </a:cxn>
                <a:cxn ang="0">
                  <a:pos x="4936" y="1789"/>
                </a:cxn>
                <a:cxn ang="0">
                  <a:pos x="5002" y="2021"/>
                </a:cxn>
                <a:cxn ang="0">
                  <a:pos x="5080" y="1988"/>
                </a:cxn>
                <a:cxn ang="0">
                  <a:pos x="5388" y="2136"/>
                </a:cxn>
                <a:cxn ang="0">
                  <a:pos x="5625" y="1893"/>
                </a:cxn>
                <a:cxn ang="0">
                  <a:pos x="5573" y="1790"/>
                </a:cxn>
                <a:cxn ang="0">
                  <a:pos x="5710" y="1848"/>
                </a:cxn>
                <a:cxn ang="0">
                  <a:pos x="5786" y="2086"/>
                </a:cxn>
                <a:cxn ang="0">
                  <a:pos x="5835" y="2229"/>
                </a:cxn>
              </a:cxnLst>
              <a:rect l="0" t="0" r="r" b="b"/>
              <a:pathLst>
                <a:path w="6099" h="2232">
                  <a:moveTo>
                    <a:pt x="3588" y="1105"/>
                  </a:moveTo>
                  <a:cubicBezTo>
                    <a:pt x="3401" y="1105"/>
                    <a:pt x="3401" y="1105"/>
                    <a:pt x="3401" y="1105"/>
                  </a:cubicBezTo>
                  <a:cubicBezTo>
                    <a:pt x="3431" y="981"/>
                    <a:pt x="3431" y="981"/>
                    <a:pt x="3431" y="981"/>
                  </a:cubicBezTo>
                  <a:cubicBezTo>
                    <a:pt x="3055" y="981"/>
                    <a:pt x="3055" y="981"/>
                    <a:pt x="3055" y="981"/>
                  </a:cubicBezTo>
                  <a:cubicBezTo>
                    <a:pt x="3024" y="1105"/>
                    <a:pt x="3024" y="1105"/>
                    <a:pt x="3024" y="1105"/>
                  </a:cubicBezTo>
                  <a:cubicBezTo>
                    <a:pt x="2843" y="1105"/>
                    <a:pt x="2843" y="1105"/>
                    <a:pt x="2843" y="1105"/>
                  </a:cubicBezTo>
                  <a:cubicBezTo>
                    <a:pt x="2843" y="1079"/>
                    <a:pt x="2843" y="1079"/>
                    <a:pt x="2843" y="1079"/>
                  </a:cubicBezTo>
                  <a:cubicBezTo>
                    <a:pt x="2845" y="1065"/>
                    <a:pt x="2848" y="1051"/>
                    <a:pt x="2851" y="1035"/>
                  </a:cubicBezTo>
                  <a:cubicBezTo>
                    <a:pt x="2884" y="901"/>
                    <a:pt x="2972" y="769"/>
                    <a:pt x="3124" y="769"/>
                  </a:cubicBezTo>
                  <a:cubicBezTo>
                    <a:pt x="3185" y="769"/>
                    <a:pt x="3244" y="792"/>
                    <a:pt x="3236" y="875"/>
                  </a:cubicBezTo>
                  <a:cubicBezTo>
                    <a:pt x="3460" y="875"/>
                    <a:pt x="3460" y="875"/>
                    <a:pt x="3460" y="875"/>
                  </a:cubicBezTo>
                  <a:cubicBezTo>
                    <a:pt x="3469" y="836"/>
                    <a:pt x="3484" y="770"/>
                    <a:pt x="3441" y="709"/>
                  </a:cubicBezTo>
                  <a:cubicBezTo>
                    <a:pt x="3394" y="643"/>
                    <a:pt x="3298" y="616"/>
                    <a:pt x="3173" y="616"/>
                  </a:cubicBezTo>
                  <a:cubicBezTo>
                    <a:pt x="3084" y="616"/>
                    <a:pt x="2955" y="631"/>
                    <a:pt x="2843" y="704"/>
                  </a:cubicBezTo>
                  <a:cubicBezTo>
                    <a:pt x="2843" y="28"/>
                    <a:pt x="2843" y="28"/>
                    <a:pt x="2843" y="28"/>
                  </a:cubicBezTo>
                  <a:cubicBezTo>
                    <a:pt x="3588" y="28"/>
                    <a:pt x="3588" y="28"/>
                    <a:pt x="3588" y="28"/>
                  </a:cubicBezTo>
                  <a:lnTo>
                    <a:pt x="3588" y="1105"/>
                  </a:lnTo>
                  <a:close/>
                  <a:moveTo>
                    <a:pt x="3148" y="1287"/>
                  </a:moveTo>
                  <a:cubicBezTo>
                    <a:pt x="3106" y="1294"/>
                    <a:pt x="3063" y="1300"/>
                    <a:pt x="3023" y="1300"/>
                  </a:cubicBezTo>
                  <a:cubicBezTo>
                    <a:pt x="2915" y="1300"/>
                    <a:pt x="2840" y="1250"/>
                    <a:pt x="2839" y="1133"/>
                  </a:cubicBezTo>
                  <a:cubicBezTo>
                    <a:pt x="3186" y="1133"/>
                    <a:pt x="3186" y="1133"/>
                    <a:pt x="3186" y="1133"/>
                  </a:cubicBezTo>
                  <a:lnTo>
                    <a:pt x="3148" y="1287"/>
                  </a:lnTo>
                  <a:close/>
                  <a:moveTo>
                    <a:pt x="2718" y="672"/>
                  </a:moveTo>
                  <a:cubicBezTo>
                    <a:pt x="2718" y="826"/>
                    <a:pt x="2718" y="826"/>
                    <a:pt x="2718" y="826"/>
                  </a:cubicBezTo>
                  <a:cubicBezTo>
                    <a:pt x="2666" y="898"/>
                    <a:pt x="2634" y="976"/>
                    <a:pt x="2619" y="1040"/>
                  </a:cubicBezTo>
                  <a:cubicBezTo>
                    <a:pt x="2613" y="1061"/>
                    <a:pt x="2609" y="1083"/>
                    <a:pt x="2607" y="1105"/>
                  </a:cubicBezTo>
                  <a:cubicBezTo>
                    <a:pt x="2497" y="1105"/>
                    <a:pt x="2497" y="1105"/>
                    <a:pt x="2497" y="1105"/>
                  </a:cubicBezTo>
                  <a:cubicBezTo>
                    <a:pt x="2591" y="660"/>
                    <a:pt x="2591" y="660"/>
                    <a:pt x="2591" y="660"/>
                  </a:cubicBezTo>
                  <a:cubicBezTo>
                    <a:pt x="2276" y="660"/>
                    <a:pt x="2276" y="660"/>
                    <a:pt x="2276" y="660"/>
                  </a:cubicBezTo>
                  <a:cubicBezTo>
                    <a:pt x="1993" y="1105"/>
                    <a:pt x="1993" y="1105"/>
                    <a:pt x="1993" y="1105"/>
                  </a:cubicBezTo>
                  <a:cubicBezTo>
                    <a:pt x="1973" y="1105"/>
                    <a:pt x="1973" y="1105"/>
                    <a:pt x="1973" y="1105"/>
                  </a:cubicBezTo>
                  <a:cubicBezTo>
                    <a:pt x="1973" y="28"/>
                    <a:pt x="1973" y="28"/>
                    <a:pt x="1973" y="28"/>
                  </a:cubicBezTo>
                  <a:cubicBezTo>
                    <a:pt x="2718" y="28"/>
                    <a:pt x="2718" y="28"/>
                    <a:pt x="2718" y="28"/>
                  </a:cubicBezTo>
                  <a:lnTo>
                    <a:pt x="2718" y="672"/>
                  </a:lnTo>
                  <a:close/>
                  <a:moveTo>
                    <a:pt x="2302" y="1105"/>
                  </a:moveTo>
                  <a:cubicBezTo>
                    <a:pt x="2190" y="1105"/>
                    <a:pt x="2190" y="1105"/>
                    <a:pt x="2190" y="1105"/>
                  </a:cubicBezTo>
                  <a:cubicBezTo>
                    <a:pt x="2360" y="838"/>
                    <a:pt x="2360" y="838"/>
                    <a:pt x="2360" y="838"/>
                  </a:cubicBezTo>
                  <a:lnTo>
                    <a:pt x="2302" y="1105"/>
                  </a:lnTo>
                  <a:close/>
                  <a:moveTo>
                    <a:pt x="1850" y="659"/>
                  </a:moveTo>
                  <a:cubicBezTo>
                    <a:pt x="1663" y="659"/>
                    <a:pt x="1663" y="659"/>
                    <a:pt x="1663" y="659"/>
                  </a:cubicBezTo>
                  <a:cubicBezTo>
                    <a:pt x="1535" y="1105"/>
                    <a:pt x="1535" y="1105"/>
                    <a:pt x="1535" y="1105"/>
                  </a:cubicBezTo>
                  <a:cubicBezTo>
                    <a:pt x="1337" y="1105"/>
                    <a:pt x="1337" y="1105"/>
                    <a:pt x="1337" y="1105"/>
                  </a:cubicBezTo>
                  <a:cubicBezTo>
                    <a:pt x="1438" y="1068"/>
                    <a:pt x="1499" y="996"/>
                    <a:pt x="1518" y="890"/>
                  </a:cubicBezTo>
                  <a:cubicBezTo>
                    <a:pt x="1534" y="809"/>
                    <a:pt x="1527" y="755"/>
                    <a:pt x="1493" y="714"/>
                  </a:cubicBezTo>
                  <a:cubicBezTo>
                    <a:pt x="1443" y="654"/>
                    <a:pt x="1342" y="659"/>
                    <a:pt x="1253" y="659"/>
                  </a:cubicBezTo>
                  <a:cubicBezTo>
                    <a:pt x="1237" y="659"/>
                    <a:pt x="1105" y="659"/>
                    <a:pt x="1105" y="659"/>
                  </a:cubicBezTo>
                  <a:cubicBezTo>
                    <a:pt x="1105" y="28"/>
                    <a:pt x="1105" y="28"/>
                    <a:pt x="1105" y="28"/>
                  </a:cubicBezTo>
                  <a:cubicBezTo>
                    <a:pt x="1850" y="28"/>
                    <a:pt x="1850" y="28"/>
                    <a:pt x="1850" y="28"/>
                  </a:cubicBezTo>
                  <a:lnTo>
                    <a:pt x="1850" y="659"/>
                  </a:lnTo>
                  <a:close/>
                  <a:moveTo>
                    <a:pt x="1730" y="1105"/>
                  </a:moveTo>
                  <a:cubicBezTo>
                    <a:pt x="1809" y="826"/>
                    <a:pt x="1809" y="826"/>
                    <a:pt x="1809" y="826"/>
                  </a:cubicBezTo>
                  <a:cubicBezTo>
                    <a:pt x="1812" y="1105"/>
                    <a:pt x="1812" y="1105"/>
                    <a:pt x="1812" y="1105"/>
                  </a:cubicBezTo>
                  <a:lnTo>
                    <a:pt x="1730" y="1105"/>
                  </a:lnTo>
                  <a:close/>
                  <a:moveTo>
                    <a:pt x="1188" y="999"/>
                  </a:moveTo>
                  <a:cubicBezTo>
                    <a:pt x="1187" y="999"/>
                    <a:pt x="1187" y="999"/>
                    <a:pt x="1187" y="999"/>
                  </a:cubicBezTo>
                  <a:cubicBezTo>
                    <a:pt x="1180" y="999"/>
                    <a:pt x="1173" y="1000"/>
                    <a:pt x="1165" y="1000"/>
                  </a:cubicBezTo>
                  <a:cubicBezTo>
                    <a:pt x="1154" y="1000"/>
                    <a:pt x="1145" y="1000"/>
                    <a:pt x="1137" y="1000"/>
                  </a:cubicBezTo>
                  <a:cubicBezTo>
                    <a:pt x="1089" y="1000"/>
                    <a:pt x="1089" y="1000"/>
                    <a:pt x="1089" y="1000"/>
                  </a:cubicBezTo>
                  <a:cubicBezTo>
                    <a:pt x="1111" y="918"/>
                    <a:pt x="1111" y="918"/>
                    <a:pt x="1111" y="918"/>
                  </a:cubicBezTo>
                  <a:cubicBezTo>
                    <a:pt x="1122" y="878"/>
                    <a:pt x="1122" y="878"/>
                    <a:pt x="1122" y="878"/>
                  </a:cubicBezTo>
                  <a:cubicBezTo>
                    <a:pt x="1147" y="783"/>
                    <a:pt x="1147" y="783"/>
                    <a:pt x="1147" y="783"/>
                  </a:cubicBezTo>
                  <a:cubicBezTo>
                    <a:pt x="1158" y="783"/>
                    <a:pt x="1169" y="782"/>
                    <a:pt x="1179" y="782"/>
                  </a:cubicBezTo>
                  <a:cubicBezTo>
                    <a:pt x="1216" y="782"/>
                    <a:pt x="1216" y="782"/>
                    <a:pt x="1216" y="782"/>
                  </a:cubicBezTo>
                  <a:cubicBezTo>
                    <a:pt x="1279" y="782"/>
                    <a:pt x="1319" y="786"/>
                    <a:pt x="1334" y="806"/>
                  </a:cubicBezTo>
                  <a:cubicBezTo>
                    <a:pt x="1345" y="822"/>
                    <a:pt x="1343" y="848"/>
                    <a:pt x="1330" y="888"/>
                  </a:cubicBezTo>
                  <a:cubicBezTo>
                    <a:pt x="1308" y="957"/>
                    <a:pt x="1279" y="992"/>
                    <a:pt x="1188" y="999"/>
                  </a:cubicBezTo>
                  <a:moveTo>
                    <a:pt x="980" y="699"/>
                  </a:moveTo>
                  <a:cubicBezTo>
                    <a:pt x="969" y="737"/>
                    <a:pt x="969" y="737"/>
                    <a:pt x="969" y="737"/>
                  </a:cubicBezTo>
                  <a:cubicBezTo>
                    <a:pt x="862" y="1092"/>
                    <a:pt x="862" y="1092"/>
                    <a:pt x="862" y="1092"/>
                  </a:cubicBezTo>
                  <a:cubicBezTo>
                    <a:pt x="858" y="1105"/>
                    <a:pt x="858" y="1105"/>
                    <a:pt x="858" y="1105"/>
                  </a:cubicBezTo>
                  <a:cubicBezTo>
                    <a:pt x="507" y="1105"/>
                    <a:pt x="507" y="1105"/>
                    <a:pt x="507" y="1105"/>
                  </a:cubicBezTo>
                  <a:cubicBezTo>
                    <a:pt x="479" y="1047"/>
                    <a:pt x="479" y="1047"/>
                    <a:pt x="479" y="1047"/>
                  </a:cubicBezTo>
                  <a:cubicBezTo>
                    <a:pt x="858" y="660"/>
                    <a:pt x="858" y="660"/>
                    <a:pt x="858" y="660"/>
                  </a:cubicBezTo>
                  <a:cubicBezTo>
                    <a:pt x="615" y="660"/>
                    <a:pt x="615" y="660"/>
                    <a:pt x="615" y="660"/>
                  </a:cubicBezTo>
                  <a:cubicBezTo>
                    <a:pt x="319" y="979"/>
                    <a:pt x="319" y="979"/>
                    <a:pt x="319" y="979"/>
                  </a:cubicBezTo>
                  <a:cubicBezTo>
                    <a:pt x="415" y="660"/>
                    <a:pt x="415" y="660"/>
                    <a:pt x="415" y="660"/>
                  </a:cubicBezTo>
                  <a:cubicBezTo>
                    <a:pt x="235" y="660"/>
                    <a:pt x="235" y="660"/>
                    <a:pt x="235" y="660"/>
                  </a:cubicBezTo>
                  <a:cubicBezTo>
                    <a:pt x="235" y="28"/>
                    <a:pt x="235" y="28"/>
                    <a:pt x="235" y="28"/>
                  </a:cubicBezTo>
                  <a:cubicBezTo>
                    <a:pt x="980" y="28"/>
                    <a:pt x="980" y="28"/>
                    <a:pt x="980" y="28"/>
                  </a:cubicBezTo>
                  <a:lnTo>
                    <a:pt x="980" y="699"/>
                  </a:lnTo>
                  <a:close/>
                  <a:moveTo>
                    <a:pt x="281" y="1105"/>
                  </a:moveTo>
                  <a:cubicBezTo>
                    <a:pt x="282" y="1101"/>
                    <a:pt x="282" y="1101"/>
                    <a:pt x="282" y="1101"/>
                  </a:cubicBezTo>
                  <a:cubicBezTo>
                    <a:pt x="285" y="1105"/>
                    <a:pt x="285" y="1105"/>
                    <a:pt x="285" y="1105"/>
                  </a:cubicBezTo>
                  <a:lnTo>
                    <a:pt x="281" y="1105"/>
                  </a:lnTo>
                  <a:close/>
                  <a:moveTo>
                    <a:pt x="2814" y="0"/>
                  </a:moveTo>
                  <a:cubicBezTo>
                    <a:pt x="2814" y="724"/>
                    <a:pt x="2814" y="724"/>
                    <a:pt x="2814" y="724"/>
                  </a:cubicBezTo>
                  <a:cubicBezTo>
                    <a:pt x="2789" y="744"/>
                    <a:pt x="2767" y="765"/>
                    <a:pt x="2747" y="788"/>
                  </a:cubicBezTo>
                  <a:cubicBezTo>
                    <a:pt x="2747" y="0"/>
                    <a:pt x="2747" y="0"/>
                    <a:pt x="2747" y="0"/>
                  </a:cubicBezTo>
                  <a:cubicBezTo>
                    <a:pt x="1945" y="0"/>
                    <a:pt x="1945" y="0"/>
                    <a:pt x="1945" y="0"/>
                  </a:cubicBezTo>
                  <a:cubicBezTo>
                    <a:pt x="1945" y="659"/>
                    <a:pt x="1945" y="659"/>
                    <a:pt x="1945" y="659"/>
                  </a:cubicBezTo>
                  <a:cubicBezTo>
                    <a:pt x="1878" y="659"/>
                    <a:pt x="1878" y="659"/>
                    <a:pt x="1878" y="659"/>
                  </a:cubicBezTo>
                  <a:cubicBezTo>
                    <a:pt x="1878" y="0"/>
                    <a:pt x="1878" y="0"/>
                    <a:pt x="1878" y="0"/>
                  </a:cubicBezTo>
                  <a:cubicBezTo>
                    <a:pt x="1076" y="0"/>
                    <a:pt x="1076" y="0"/>
                    <a:pt x="1076" y="0"/>
                  </a:cubicBezTo>
                  <a:cubicBezTo>
                    <a:pt x="1076" y="660"/>
                    <a:pt x="1076" y="660"/>
                    <a:pt x="1076" y="660"/>
                  </a:cubicBezTo>
                  <a:cubicBezTo>
                    <a:pt x="1009" y="660"/>
                    <a:pt x="1009" y="660"/>
                    <a:pt x="1009" y="660"/>
                  </a:cubicBezTo>
                  <a:cubicBezTo>
                    <a:pt x="1009" y="0"/>
                    <a:pt x="1009" y="0"/>
                    <a:pt x="1009" y="0"/>
                  </a:cubicBezTo>
                  <a:cubicBezTo>
                    <a:pt x="207" y="0"/>
                    <a:pt x="207" y="0"/>
                    <a:pt x="207" y="0"/>
                  </a:cubicBezTo>
                  <a:cubicBezTo>
                    <a:pt x="207" y="753"/>
                    <a:pt x="207" y="753"/>
                    <a:pt x="207" y="753"/>
                  </a:cubicBezTo>
                  <a:cubicBezTo>
                    <a:pt x="2" y="1435"/>
                    <a:pt x="2" y="1435"/>
                    <a:pt x="2" y="1435"/>
                  </a:cubicBezTo>
                  <a:cubicBezTo>
                    <a:pt x="182" y="1435"/>
                    <a:pt x="182" y="1435"/>
                    <a:pt x="182" y="1435"/>
                  </a:cubicBezTo>
                  <a:cubicBezTo>
                    <a:pt x="273" y="1133"/>
                    <a:pt x="273" y="1133"/>
                    <a:pt x="273" y="1133"/>
                  </a:cubicBezTo>
                  <a:cubicBezTo>
                    <a:pt x="299" y="1133"/>
                    <a:pt x="299" y="1133"/>
                    <a:pt x="299" y="1133"/>
                  </a:cubicBezTo>
                  <a:cubicBezTo>
                    <a:pt x="448" y="1435"/>
                    <a:pt x="448" y="1435"/>
                    <a:pt x="448" y="1435"/>
                  </a:cubicBezTo>
                  <a:cubicBezTo>
                    <a:pt x="665" y="1435"/>
                    <a:pt x="665" y="1435"/>
                    <a:pt x="665" y="1435"/>
                  </a:cubicBezTo>
                  <a:cubicBezTo>
                    <a:pt x="520" y="1133"/>
                    <a:pt x="520" y="1133"/>
                    <a:pt x="520" y="1133"/>
                  </a:cubicBezTo>
                  <a:cubicBezTo>
                    <a:pt x="849" y="1133"/>
                    <a:pt x="849" y="1133"/>
                    <a:pt x="849" y="1133"/>
                  </a:cubicBezTo>
                  <a:cubicBezTo>
                    <a:pt x="758" y="1435"/>
                    <a:pt x="758" y="1435"/>
                    <a:pt x="758" y="1435"/>
                  </a:cubicBezTo>
                  <a:cubicBezTo>
                    <a:pt x="955" y="1435"/>
                    <a:pt x="955" y="1435"/>
                    <a:pt x="955" y="1435"/>
                  </a:cubicBezTo>
                  <a:cubicBezTo>
                    <a:pt x="1045" y="1134"/>
                    <a:pt x="1045" y="1134"/>
                    <a:pt x="1045" y="1134"/>
                  </a:cubicBezTo>
                  <a:cubicBezTo>
                    <a:pt x="1088" y="1134"/>
                    <a:pt x="1088" y="1134"/>
                    <a:pt x="1088" y="1134"/>
                  </a:cubicBezTo>
                  <a:cubicBezTo>
                    <a:pt x="1088" y="1133"/>
                    <a:pt x="1088" y="1133"/>
                    <a:pt x="1088" y="1133"/>
                  </a:cubicBezTo>
                  <a:cubicBezTo>
                    <a:pt x="1150" y="1133"/>
                    <a:pt x="1150" y="1133"/>
                    <a:pt x="1150" y="1133"/>
                  </a:cubicBezTo>
                  <a:cubicBezTo>
                    <a:pt x="1155" y="1133"/>
                    <a:pt x="1155" y="1133"/>
                    <a:pt x="1155" y="1133"/>
                  </a:cubicBezTo>
                  <a:cubicBezTo>
                    <a:pt x="1527" y="1133"/>
                    <a:pt x="1527" y="1133"/>
                    <a:pt x="1527" y="1133"/>
                  </a:cubicBezTo>
                  <a:cubicBezTo>
                    <a:pt x="1440" y="1434"/>
                    <a:pt x="1440" y="1434"/>
                    <a:pt x="1440" y="1434"/>
                  </a:cubicBezTo>
                  <a:cubicBezTo>
                    <a:pt x="1638" y="1434"/>
                    <a:pt x="1638" y="1434"/>
                    <a:pt x="1638" y="1434"/>
                  </a:cubicBezTo>
                  <a:cubicBezTo>
                    <a:pt x="1722" y="1133"/>
                    <a:pt x="1722" y="1133"/>
                    <a:pt x="1722" y="1133"/>
                  </a:cubicBezTo>
                  <a:cubicBezTo>
                    <a:pt x="1812" y="1133"/>
                    <a:pt x="1812" y="1133"/>
                    <a:pt x="1812" y="1133"/>
                  </a:cubicBezTo>
                  <a:cubicBezTo>
                    <a:pt x="1814" y="1434"/>
                    <a:pt x="1814" y="1434"/>
                    <a:pt x="1814" y="1434"/>
                  </a:cubicBezTo>
                  <a:cubicBezTo>
                    <a:pt x="1980" y="1434"/>
                    <a:pt x="1980" y="1434"/>
                    <a:pt x="1980" y="1434"/>
                  </a:cubicBezTo>
                  <a:cubicBezTo>
                    <a:pt x="2171" y="1133"/>
                    <a:pt x="2171" y="1133"/>
                    <a:pt x="2171" y="1133"/>
                  </a:cubicBezTo>
                  <a:cubicBezTo>
                    <a:pt x="2296" y="1133"/>
                    <a:pt x="2296" y="1133"/>
                    <a:pt x="2296" y="1133"/>
                  </a:cubicBezTo>
                  <a:cubicBezTo>
                    <a:pt x="2232" y="1434"/>
                    <a:pt x="2232" y="1434"/>
                    <a:pt x="2232" y="1434"/>
                  </a:cubicBezTo>
                  <a:cubicBezTo>
                    <a:pt x="2427" y="1434"/>
                    <a:pt x="2427" y="1434"/>
                    <a:pt x="2427" y="1434"/>
                  </a:cubicBezTo>
                  <a:cubicBezTo>
                    <a:pt x="2491" y="1133"/>
                    <a:pt x="2491" y="1133"/>
                    <a:pt x="2491" y="1133"/>
                  </a:cubicBezTo>
                  <a:cubicBezTo>
                    <a:pt x="2604" y="1133"/>
                    <a:pt x="2604" y="1133"/>
                    <a:pt x="2604" y="1133"/>
                  </a:cubicBezTo>
                  <a:cubicBezTo>
                    <a:pt x="2599" y="1226"/>
                    <a:pt x="2623" y="1311"/>
                    <a:pt x="2685" y="1368"/>
                  </a:cubicBezTo>
                  <a:cubicBezTo>
                    <a:pt x="2761" y="1438"/>
                    <a:pt x="2877" y="1451"/>
                    <a:pt x="2963" y="1451"/>
                  </a:cubicBezTo>
                  <a:cubicBezTo>
                    <a:pt x="3081" y="1451"/>
                    <a:pt x="3203" y="1434"/>
                    <a:pt x="3326" y="1407"/>
                  </a:cubicBezTo>
                  <a:cubicBezTo>
                    <a:pt x="3394" y="1133"/>
                    <a:pt x="3394" y="1133"/>
                    <a:pt x="3394" y="1133"/>
                  </a:cubicBezTo>
                  <a:cubicBezTo>
                    <a:pt x="3617" y="1133"/>
                    <a:pt x="3617" y="1133"/>
                    <a:pt x="3617" y="1133"/>
                  </a:cubicBezTo>
                  <a:cubicBezTo>
                    <a:pt x="3617" y="0"/>
                    <a:pt x="3617" y="0"/>
                    <a:pt x="3617" y="0"/>
                  </a:cubicBezTo>
                  <a:lnTo>
                    <a:pt x="2814" y="0"/>
                  </a:lnTo>
                  <a:close/>
                  <a:moveTo>
                    <a:pt x="351" y="1894"/>
                  </a:moveTo>
                  <a:cubicBezTo>
                    <a:pt x="321" y="2038"/>
                    <a:pt x="321" y="2038"/>
                    <a:pt x="321" y="2038"/>
                  </a:cubicBezTo>
                  <a:cubicBezTo>
                    <a:pt x="316" y="2060"/>
                    <a:pt x="309" y="2092"/>
                    <a:pt x="348" y="2092"/>
                  </a:cubicBezTo>
                  <a:cubicBezTo>
                    <a:pt x="393" y="2092"/>
                    <a:pt x="400" y="2058"/>
                    <a:pt x="409" y="2016"/>
                  </a:cubicBezTo>
                  <a:cubicBezTo>
                    <a:pt x="435" y="1894"/>
                    <a:pt x="435" y="1894"/>
                    <a:pt x="435" y="1894"/>
                  </a:cubicBezTo>
                  <a:cubicBezTo>
                    <a:pt x="508" y="1894"/>
                    <a:pt x="508" y="1894"/>
                    <a:pt x="508" y="1894"/>
                  </a:cubicBezTo>
                  <a:cubicBezTo>
                    <a:pt x="474" y="2053"/>
                    <a:pt x="474" y="2053"/>
                    <a:pt x="474" y="2053"/>
                  </a:cubicBezTo>
                  <a:cubicBezTo>
                    <a:pt x="464" y="2106"/>
                    <a:pt x="463" y="2112"/>
                    <a:pt x="462" y="2118"/>
                  </a:cubicBezTo>
                  <a:cubicBezTo>
                    <a:pt x="461" y="2125"/>
                    <a:pt x="460" y="2130"/>
                    <a:pt x="460" y="2136"/>
                  </a:cubicBezTo>
                  <a:cubicBezTo>
                    <a:pt x="391" y="2136"/>
                    <a:pt x="391" y="2136"/>
                    <a:pt x="391" y="2136"/>
                  </a:cubicBezTo>
                  <a:cubicBezTo>
                    <a:pt x="395" y="2104"/>
                    <a:pt x="395" y="2104"/>
                    <a:pt x="395" y="2104"/>
                  </a:cubicBezTo>
                  <a:cubicBezTo>
                    <a:pt x="386" y="2115"/>
                    <a:pt x="362" y="2143"/>
                    <a:pt x="315" y="2143"/>
                  </a:cubicBezTo>
                  <a:cubicBezTo>
                    <a:pt x="283" y="2143"/>
                    <a:pt x="259" y="2128"/>
                    <a:pt x="250" y="2110"/>
                  </a:cubicBezTo>
                  <a:cubicBezTo>
                    <a:pt x="238" y="2090"/>
                    <a:pt x="245" y="2056"/>
                    <a:pt x="248" y="2045"/>
                  </a:cubicBezTo>
                  <a:cubicBezTo>
                    <a:pt x="279" y="1894"/>
                    <a:pt x="279" y="1894"/>
                    <a:pt x="279" y="1894"/>
                  </a:cubicBezTo>
                  <a:lnTo>
                    <a:pt x="351" y="1894"/>
                  </a:lnTo>
                  <a:close/>
                  <a:moveTo>
                    <a:pt x="812" y="1942"/>
                  </a:moveTo>
                  <a:cubicBezTo>
                    <a:pt x="870" y="1942"/>
                    <a:pt x="870" y="1942"/>
                    <a:pt x="870" y="1942"/>
                  </a:cubicBezTo>
                  <a:cubicBezTo>
                    <a:pt x="880" y="1895"/>
                    <a:pt x="880" y="1895"/>
                    <a:pt x="880" y="1895"/>
                  </a:cubicBezTo>
                  <a:cubicBezTo>
                    <a:pt x="822" y="1895"/>
                    <a:pt x="822" y="1895"/>
                    <a:pt x="822" y="1895"/>
                  </a:cubicBezTo>
                  <a:cubicBezTo>
                    <a:pt x="838" y="1822"/>
                    <a:pt x="838" y="1822"/>
                    <a:pt x="838" y="1822"/>
                  </a:cubicBezTo>
                  <a:cubicBezTo>
                    <a:pt x="762" y="1848"/>
                    <a:pt x="762" y="1848"/>
                    <a:pt x="762" y="1848"/>
                  </a:cubicBezTo>
                  <a:cubicBezTo>
                    <a:pt x="752" y="1895"/>
                    <a:pt x="752" y="1895"/>
                    <a:pt x="752" y="1895"/>
                  </a:cubicBezTo>
                  <a:cubicBezTo>
                    <a:pt x="654" y="1895"/>
                    <a:pt x="654" y="1895"/>
                    <a:pt x="654" y="1895"/>
                  </a:cubicBezTo>
                  <a:cubicBezTo>
                    <a:pt x="670" y="1822"/>
                    <a:pt x="670" y="1822"/>
                    <a:pt x="670" y="1822"/>
                  </a:cubicBezTo>
                  <a:cubicBezTo>
                    <a:pt x="594" y="1848"/>
                    <a:pt x="594" y="1848"/>
                    <a:pt x="594" y="1848"/>
                  </a:cubicBezTo>
                  <a:cubicBezTo>
                    <a:pt x="584" y="1895"/>
                    <a:pt x="584" y="1895"/>
                    <a:pt x="584" y="1895"/>
                  </a:cubicBezTo>
                  <a:cubicBezTo>
                    <a:pt x="537" y="1895"/>
                    <a:pt x="537" y="1895"/>
                    <a:pt x="537" y="1895"/>
                  </a:cubicBezTo>
                  <a:cubicBezTo>
                    <a:pt x="527" y="1942"/>
                    <a:pt x="527" y="1942"/>
                    <a:pt x="527" y="1942"/>
                  </a:cubicBezTo>
                  <a:cubicBezTo>
                    <a:pt x="574" y="1942"/>
                    <a:pt x="574" y="1942"/>
                    <a:pt x="574" y="1942"/>
                  </a:cubicBezTo>
                  <a:cubicBezTo>
                    <a:pt x="545" y="2075"/>
                    <a:pt x="545" y="2075"/>
                    <a:pt x="545" y="2075"/>
                  </a:cubicBezTo>
                  <a:cubicBezTo>
                    <a:pt x="541" y="2095"/>
                    <a:pt x="531" y="2141"/>
                    <a:pt x="603" y="2141"/>
                  </a:cubicBezTo>
                  <a:cubicBezTo>
                    <a:pt x="615" y="2141"/>
                    <a:pt x="636" y="2139"/>
                    <a:pt x="660" y="2133"/>
                  </a:cubicBezTo>
                  <a:cubicBezTo>
                    <a:pt x="670" y="2086"/>
                    <a:pt x="670" y="2086"/>
                    <a:pt x="670" y="2086"/>
                  </a:cubicBezTo>
                  <a:cubicBezTo>
                    <a:pt x="661" y="2087"/>
                    <a:pt x="656" y="2088"/>
                    <a:pt x="645" y="2088"/>
                  </a:cubicBezTo>
                  <a:cubicBezTo>
                    <a:pt x="614" y="2088"/>
                    <a:pt x="617" y="2074"/>
                    <a:pt x="621" y="2052"/>
                  </a:cubicBezTo>
                  <a:cubicBezTo>
                    <a:pt x="645" y="1942"/>
                    <a:pt x="645" y="1942"/>
                    <a:pt x="645" y="1942"/>
                  </a:cubicBezTo>
                  <a:cubicBezTo>
                    <a:pt x="741" y="1942"/>
                    <a:pt x="741" y="1942"/>
                    <a:pt x="741" y="1942"/>
                  </a:cubicBezTo>
                  <a:cubicBezTo>
                    <a:pt x="713" y="2075"/>
                    <a:pt x="713" y="2075"/>
                    <a:pt x="713" y="2075"/>
                  </a:cubicBezTo>
                  <a:cubicBezTo>
                    <a:pt x="709" y="2095"/>
                    <a:pt x="699" y="2141"/>
                    <a:pt x="771" y="2141"/>
                  </a:cubicBezTo>
                  <a:cubicBezTo>
                    <a:pt x="782" y="2141"/>
                    <a:pt x="804" y="2139"/>
                    <a:pt x="828" y="2133"/>
                  </a:cubicBezTo>
                  <a:cubicBezTo>
                    <a:pt x="838" y="2086"/>
                    <a:pt x="838" y="2086"/>
                    <a:pt x="838" y="2086"/>
                  </a:cubicBezTo>
                  <a:cubicBezTo>
                    <a:pt x="829" y="2087"/>
                    <a:pt x="824" y="2088"/>
                    <a:pt x="813" y="2088"/>
                  </a:cubicBezTo>
                  <a:cubicBezTo>
                    <a:pt x="781" y="2088"/>
                    <a:pt x="785" y="2074"/>
                    <a:pt x="788" y="2052"/>
                  </a:cubicBezTo>
                  <a:lnTo>
                    <a:pt x="812" y="1942"/>
                  </a:lnTo>
                  <a:close/>
                  <a:moveTo>
                    <a:pt x="916" y="1893"/>
                  </a:moveTo>
                  <a:cubicBezTo>
                    <a:pt x="987" y="1893"/>
                    <a:pt x="987" y="1893"/>
                    <a:pt x="987" y="1893"/>
                  </a:cubicBezTo>
                  <a:cubicBezTo>
                    <a:pt x="935" y="2136"/>
                    <a:pt x="935" y="2136"/>
                    <a:pt x="935" y="2136"/>
                  </a:cubicBezTo>
                  <a:cubicBezTo>
                    <a:pt x="864" y="2136"/>
                    <a:pt x="864" y="2136"/>
                    <a:pt x="864" y="2136"/>
                  </a:cubicBezTo>
                  <a:lnTo>
                    <a:pt x="916" y="1893"/>
                  </a:lnTo>
                  <a:close/>
                  <a:moveTo>
                    <a:pt x="935" y="1790"/>
                  </a:moveTo>
                  <a:cubicBezTo>
                    <a:pt x="1011" y="1790"/>
                    <a:pt x="1011" y="1790"/>
                    <a:pt x="1011" y="1790"/>
                  </a:cubicBezTo>
                  <a:cubicBezTo>
                    <a:pt x="998" y="1851"/>
                    <a:pt x="998" y="1851"/>
                    <a:pt x="998" y="1851"/>
                  </a:cubicBezTo>
                  <a:cubicBezTo>
                    <a:pt x="922" y="1851"/>
                    <a:pt x="922" y="1851"/>
                    <a:pt x="922" y="1851"/>
                  </a:cubicBezTo>
                  <a:lnTo>
                    <a:pt x="935" y="1790"/>
                  </a:lnTo>
                  <a:close/>
                  <a:moveTo>
                    <a:pt x="1034" y="1937"/>
                  </a:moveTo>
                  <a:cubicBezTo>
                    <a:pt x="1034" y="1936"/>
                    <a:pt x="1040" y="1909"/>
                    <a:pt x="1042" y="1893"/>
                  </a:cubicBezTo>
                  <a:cubicBezTo>
                    <a:pt x="1110" y="1893"/>
                    <a:pt x="1110" y="1893"/>
                    <a:pt x="1110" y="1893"/>
                  </a:cubicBezTo>
                  <a:cubicBezTo>
                    <a:pt x="1104" y="1929"/>
                    <a:pt x="1104" y="1929"/>
                    <a:pt x="1104" y="1929"/>
                  </a:cubicBezTo>
                  <a:cubicBezTo>
                    <a:pt x="1113" y="1918"/>
                    <a:pt x="1139" y="1887"/>
                    <a:pt x="1192" y="1887"/>
                  </a:cubicBezTo>
                  <a:cubicBezTo>
                    <a:pt x="1239" y="1887"/>
                    <a:pt x="1254" y="1916"/>
                    <a:pt x="1256" y="1933"/>
                  </a:cubicBezTo>
                  <a:cubicBezTo>
                    <a:pt x="1259" y="1948"/>
                    <a:pt x="1257" y="1960"/>
                    <a:pt x="1248" y="2005"/>
                  </a:cubicBezTo>
                  <a:cubicBezTo>
                    <a:pt x="1220" y="2136"/>
                    <a:pt x="1220" y="2136"/>
                    <a:pt x="1220" y="2136"/>
                  </a:cubicBezTo>
                  <a:cubicBezTo>
                    <a:pt x="1147" y="2136"/>
                    <a:pt x="1147" y="2136"/>
                    <a:pt x="1147" y="2136"/>
                  </a:cubicBezTo>
                  <a:cubicBezTo>
                    <a:pt x="1179" y="1985"/>
                    <a:pt x="1179" y="1985"/>
                    <a:pt x="1179" y="1985"/>
                  </a:cubicBezTo>
                  <a:cubicBezTo>
                    <a:pt x="1181" y="1975"/>
                    <a:pt x="1183" y="1967"/>
                    <a:pt x="1181" y="1959"/>
                  </a:cubicBezTo>
                  <a:cubicBezTo>
                    <a:pt x="1178" y="1949"/>
                    <a:pt x="1169" y="1938"/>
                    <a:pt x="1151" y="1938"/>
                  </a:cubicBezTo>
                  <a:cubicBezTo>
                    <a:pt x="1136" y="1938"/>
                    <a:pt x="1120" y="1946"/>
                    <a:pt x="1110" y="1957"/>
                  </a:cubicBezTo>
                  <a:cubicBezTo>
                    <a:pt x="1104" y="1963"/>
                    <a:pt x="1097" y="1975"/>
                    <a:pt x="1093" y="1994"/>
                  </a:cubicBezTo>
                  <a:cubicBezTo>
                    <a:pt x="1063" y="2136"/>
                    <a:pt x="1063" y="2136"/>
                    <a:pt x="1063" y="2136"/>
                  </a:cubicBezTo>
                  <a:cubicBezTo>
                    <a:pt x="992" y="2136"/>
                    <a:pt x="992" y="2136"/>
                    <a:pt x="992" y="2136"/>
                  </a:cubicBezTo>
                  <a:lnTo>
                    <a:pt x="1034" y="1937"/>
                  </a:lnTo>
                  <a:close/>
                  <a:moveTo>
                    <a:pt x="1558" y="1895"/>
                  </a:moveTo>
                  <a:cubicBezTo>
                    <a:pt x="1552" y="1914"/>
                    <a:pt x="1547" y="1930"/>
                    <a:pt x="1542" y="1955"/>
                  </a:cubicBezTo>
                  <a:cubicBezTo>
                    <a:pt x="1504" y="2134"/>
                    <a:pt x="1504" y="2134"/>
                    <a:pt x="1504" y="2134"/>
                  </a:cubicBezTo>
                  <a:cubicBezTo>
                    <a:pt x="1486" y="2223"/>
                    <a:pt x="1409" y="2232"/>
                    <a:pt x="1363" y="2232"/>
                  </a:cubicBezTo>
                  <a:cubicBezTo>
                    <a:pt x="1328" y="2232"/>
                    <a:pt x="1261" y="2228"/>
                    <a:pt x="1272" y="2154"/>
                  </a:cubicBezTo>
                  <a:cubicBezTo>
                    <a:pt x="1340" y="2154"/>
                    <a:pt x="1340" y="2154"/>
                    <a:pt x="1340" y="2154"/>
                  </a:cubicBezTo>
                  <a:cubicBezTo>
                    <a:pt x="1340" y="2158"/>
                    <a:pt x="1339" y="2166"/>
                    <a:pt x="1344" y="2174"/>
                  </a:cubicBezTo>
                  <a:cubicBezTo>
                    <a:pt x="1348" y="2181"/>
                    <a:pt x="1357" y="2188"/>
                    <a:pt x="1375" y="2188"/>
                  </a:cubicBezTo>
                  <a:cubicBezTo>
                    <a:pt x="1397" y="2188"/>
                    <a:pt x="1417" y="2178"/>
                    <a:pt x="1427" y="2156"/>
                  </a:cubicBezTo>
                  <a:cubicBezTo>
                    <a:pt x="1432" y="2144"/>
                    <a:pt x="1434" y="2135"/>
                    <a:pt x="1442" y="2099"/>
                  </a:cubicBezTo>
                  <a:cubicBezTo>
                    <a:pt x="1413" y="2128"/>
                    <a:pt x="1387" y="2132"/>
                    <a:pt x="1370" y="2132"/>
                  </a:cubicBezTo>
                  <a:cubicBezTo>
                    <a:pt x="1300" y="2132"/>
                    <a:pt x="1280" y="2071"/>
                    <a:pt x="1293" y="2012"/>
                  </a:cubicBezTo>
                  <a:cubicBezTo>
                    <a:pt x="1306" y="1951"/>
                    <a:pt x="1352" y="1892"/>
                    <a:pt x="1422" y="1892"/>
                  </a:cubicBezTo>
                  <a:cubicBezTo>
                    <a:pt x="1466" y="1892"/>
                    <a:pt x="1477" y="1916"/>
                    <a:pt x="1482" y="1927"/>
                  </a:cubicBezTo>
                  <a:cubicBezTo>
                    <a:pt x="1492" y="1895"/>
                    <a:pt x="1492" y="1895"/>
                    <a:pt x="1492" y="1895"/>
                  </a:cubicBezTo>
                  <a:lnTo>
                    <a:pt x="1558" y="1895"/>
                  </a:lnTo>
                  <a:close/>
                  <a:moveTo>
                    <a:pt x="1397" y="2083"/>
                  </a:moveTo>
                  <a:cubicBezTo>
                    <a:pt x="1447" y="2083"/>
                    <a:pt x="1459" y="2025"/>
                    <a:pt x="1461" y="2014"/>
                  </a:cubicBezTo>
                  <a:cubicBezTo>
                    <a:pt x="1467" y="1986"/>
                    <a:pt x="1472" y="1940"/>
                    <a:pt x="1428" y="1940"/>
                  </a:cubicBezTo>
                  <a:cubicBezTo>
                    <a:pt x="1401" y="1940"/>
                    <a:pt x="1375" y="1960"/>
                    <a:pt x="1364" y="2012"/>
                  </a:cubicBezTo>
                  <a:cubicBezTo>
                    <a:pt x="1362" y="2025"/>
                    <a:pt x="1349" y="2083"/>
                    <a:pt x="1397" y="2083"/>
                  </a:cubicBezTo>
                  <a:moveTo>
                    <a:pt x="1842" y="2133"/>
                  </a:moveTo>
                  <a:cubicBezTo>
                    <a:pt x="1818" y="2139"/>
                    <a:pt x="1797" y="2141"/>
                    <a:pt x="1786" y="2141"/>
                  </a:cubicBezTo>
                  <a:cubicBezTo>
                    <a:pt x="1714" y="2141"/>
                    <a:pt x="1723" y="2095"/>
                    <a:pt x="1728" y="2075"/>
                  </a:cubicBezTo>
                  <a:cubicBezTo>
                    <a:pt x="1756" y="1942"/>
                    <a:pt x="1756" y="1942"/>
                    <a:pt x="1756" y="1942"/>
                  </a:cubicBezTo>
                  <a:cubicBezTo>
                    <a:pt x="1710" y="1942"/>
                    <a:pt x="1710" y="1942"/>
                    <a:pt x="1710" y="1942"/>
                  </a:cubicBezTo>
                  <a:cubicBezTo>
                    <a:pt x="1719" y="1895"/>
                    <a:pt x="1719" y="1895"/>
                    <a:pt x="1719" y="1895"/>
                  </a:cubicBezTo>
                  <a:cubicBezTo>
                    <a:pt x="1766" y="1895"/>
                    <a:pt x="1766" y="1895"/>
                    <a:pt x="1766" y="1895"/>
                  </a:cubicBezTo>
                  <a:cubicBezTo>
                    <a:pt x="1776" y="1848"/>
                    <a:pt x="1776" y="1848"/>
                    <a:pt x="1776" y="1848"/>
                  </a:cubicBezTo>
                  <a:cubicBezTo>
                    <a:pt x="1852" y="1822"/>
                    <a:pt x="1852" y="1822"/>
                    <a:pt x="1852" y="1822"/>
                  </a:cubicBezTo>
                  <a:cubicBezTo>
                    <a:pt x="1837" y="1895"/>
                    <a:pt x="1837" y="1895"/>
                    <a:pt x="1837" y="1895"/>
                  </a:cubicBezTo>
                  <a:cubicBezTo>
                    <a:pt x="1895" y="1895"/>
                    <a:pt x="1895" y="1895"/>
                    <a:pt x="1895" y="1895"/>
                  </a:cubicBezTo>
                  <a:cubicBezTo>
                    <a:pt x="1884" y="1942"/>
                    <a:pt x="1884" y="1942"/>
                    <a:pt x="1884" y="1942"/>
                  </a:cubicBezTo>
                  <a:cubicBezTo>
                    <a:pt x="1827" y="1942"/>
                    <a:pt x="1827" y="1942"/>
                    <a:pt x="1827" y="1942"/>
                  </a:cubicBezTo>
                  <a:cubicBezTo>
                    <a:pt x="1803" y="2052"/>
                    <a:pt x="1803" y="2052"/>
                    <a:pt x="1803" y="2052"/>
                  </a:cubicBezTo>
                  <a:cubicBezTo>
                    <a:pt x="1799" y="2074"/>
                    <a:pt x="1796" y="2088"/>
                    <a:pt x="1828" y="2088"/>
                  </a:cubicBezTo>
                  <a:cubicBezTo>
                    <a:pt x="1838" y="2088"/>
                    <a:pt x="1844" y="2087"/>
                    <a:pt x="1852" y="2086"/>
                  </a:cubicBezTo>
                  <a:lnTo>
                    <a:pt x="1842" y="2133"/>
                  </a:lnTo>
                  <a:close/>
                  <a:moveTo>
                    <a:pt x="1954" y="1790"/>
                  </a:moveTo>
                  <a:cubicBezTo>
                    <a:pt x="2025" y="1790"/>
                    <a:pt x="2025" y="1790"/>
                    <a:pt x="2025" y="1790"/>
                  </a:cubicBezTo>
                  <a:cubicBezTo>
                    <a:pt x="1996" y="1927"/>
                    <a:pt x="1996" y="1927"/>
                    <a:pt x="1996" y="1927"/>
                  </a:cubicBezTo>
                  <a:cubicBezTo>
                    <a:pt x="2007" y="1915"/>
                    <a:pt x="2030" y="1890"/>
                    <a:pt x="2074" y="1890"/>
                  </a:cubicBezTo>
                  <a:cubicBezTo>
                    <a:pt x="2110" y="1890"/>
                    <a:pt x="2129" y="1908"/>
                    <a:pt x="2137" y="1923"/>
                  </a:cubicBezTo>
                  <a:cubicBezTo>
                    <a:pt x="2143" y="1935"/>
                    <a:pt x="2146" y="1957"/>
                    <a:pt x="2139" y="1989"/>
                  </a:cubicBezTo>
                  <a:cubicBezTo>
                    <a:pt x="2108" y="2136"/>
                    <a:pt x="2108" y="2136"/>
                    <a:pt x="2108" y="2136"/>
                  </a:cubicBezTo>
                  <a:cubicBezTo>
                    <a:pt x="2037" y="2136"/>
                    <a:pt x="2037" y="2136"/>
                    <a:pt x="2037" y="2136"/>
                  </a:cubicBezTo>
                  <a:cubicBezTo>
                    <a:pt x="2068" y="1991"/>
                    <a:pt x="2068" y="1991"/>
                    <a:pt x="2068" y="1991"/>
                  </a:cubicBezTo>
                  <a:cubicBezTo>
                    <a:pt x="2071" y="1977"/>
                    <a:pt x="2079" y="1938"/>
                    <a:pt x="2040" y="1938"/>
                  </a:cubicBezTo>
                  <a:cubicBezTo>
                    <a:pt x="2019" y="1938"/>
                    <a:pt x="1991" y="1950"/>
                    <a:pt x="1983" y="1988"/>
                  </a:cubicBezTo>
                  <a:cubicBezTo>
                    <a:pt x="1952" y="2136"/>
                    <a:pt x="1952" y="2136"/>
                    <a:pt x="1952" y="2136"/>
                  </a:cubicBezTo>
                  <a:cubicBezTo>
                    <a:pt x="1881" y="2136"/>
                    <a:pt x="1881" y="2136"/>
                    <a:pt x="1881" y="2136"/>
                  </a:cubicBezTo>
                  <a:lnTo>
                    <a:pt x="1954" y="1790"/>
                  </a:lnTo>
                  <a:close/>
                  <a:moveTo>
                    <a:pt x="2195" y="1953"/>
                  </a:moveTo>
                  <a:cubicBezTo>
                    <a:pt x="2197" y="1942"/>
                    <a:pt x="2203" y="1906"/>
                    <a:pt x="2205" y="1893"/>
                  </a:cubicBezTo>
                  <a:cubicBezTo>
                    <a:pt x="2271" y="1893"/>
                    <a:pt x="2271" y="1893"/>
                    <a:pt x="2271" y="1893"/>
                  </a:cubicBezTo>
                  <a:cubicBezTo>
                    <a:pt x="2263" y="1939"/>
                    <a:pt x="2263" y="1939"/>
                    <a:pt x="2263" y="1939"/>
                  </a:cubicBezTo>
                  <a:cubicBezTo>
                    <a:pt x="2276" y="1919"/>
                    <a:pt x="2298" y="1889"/>
                    <a:pt x="2356" y="1892"/>
                  </a:cubicBezTo>
                  <a:cubicBezTo>
                    <a:pt x="2342" y="1956"/>
                    <a:pt x="2342" y="1956"/>
                    <a:pt x="2342" y="1956"/>
                  </a:cubicBezTo>
                  <a:cubicBezTo>
                    <a:pt x="2271" y="1949"/>
                    <a:pt x="2259" y="1986"/>
                    <a:pt x="2253" y="2017"/>
                  </a:cubicBezTo>
                  <a:cubicBezTo>
                    <a:pt x="2227" y="2136"/>
                    <a:pt x="2227" y="2136"/>
                    <a:pt x="2227" y="2136"/>
                  </a:cubicBezTo>
                  <a:cubicBezTo>
                    <a:pt x="2156" y="2136"/>
                    <a:pt x="2156" y="2136"/>
                    <a:pt x="2156" y="2136"/>
                  </a:cubicBezTo>
                  <a:lnTo>
                    <a:pt x="2195" y="1953"/>
                  </a:lnTo>
                  <a:close/>
                  <a:moveTo>
                    <a:pt x="2503" y="1888"/>
                  </a:moveTo>
                  <a:cubicBezTo>
                    <a:pt x="2591" y="1888"/>
                    <a:pt x="2617" y="1948"/>
                    <a:pt x="2602" y="2015"/>
                  </a:cubicBezTo>
                  <a:cubicBezTo>
                    <a:pt x="2587" y="2083"/>
                    <a:pt x="2535" y="2145"/>
                    <a:pt x="2447" y="2145"/>
                  </a:cubicBezTo>
                  <a:cubicBezTo>
                    <a:pt x="2378" y="2145"/>
                    <a:pt x="2332" y="2102"/>
                    <a:pt x="2350" y="2017"/>
                  </a:cubicBezTo>
                  <a:cubicBezTo>
                    <a:pt x="2362" y="1959"/>
                    <a:pt x="2408" y="1888"/>
                    <a:pt x="2503" y="1888"/>
                  </a:cubicBezTo>
                  <a:moveTo>
                    <a:pt x="2460" y="2095"/>
                  </a:moveTo>
                  <a:cubicBezTo>
                    <a:pt x="2491" y="2095"/>
                    <a:pt x="2516" y="2077"/>
                    <a:pt x="2530" y="2012"/>
                  </a:cubicBezTo>
                  <a:cubicBezTo>
                    <a:pt x="2537" y="1980"/>
                    <a:pt x="2540" y="1935"/>
                    <a:pt x="2493" y="1935"/>
                  </a:cubicBezTo>
                  <a:cubicBezTo>
                    <a:pt x="2441" y="1935"/>
                    <a:pt x="2427" y="1995"/>
                    <a:pt x="2423" y="2018"/>
                  </a:cubicBezTo>
                  <a:cubicBezTo>
                    <a:pt x="2411" y="2072"/>
                    <a:pt x="2425" y="2095"/>
                    <a:pt x="2460" y="2095"/>
                  </a:cubicBezTo>
                  <a:moveTo>
                    <a:pt x="2743" y="1894"/>
                  </a:moveTo>
                  <a:cubicBezTo>
                    <a:pt x="2713" y="2038"/>
                    <a:pt x="2713" y="2038"/>
                    <a:pt x="2713" y="2038"/>
                  </a:cubicBezTo>
                  <a:cubicBezTo>
                    <a:pt x="2708" y="2060"/>
                    <a:pt x="2701" y="2092"/>
                    <a:pt x="2740" y="2092"/>
                  </a:cubicBezTo>
                  <a:cubicBezTo>
                    <a:pt x="2785" y="2092"/>
                    <a:pt x="2792" y="2058"/>
                    <a:pt x="2801" y="2016"/>
                  </a:cubicBezTo>
                  <a:cubicBezTo>
                    <a:pt x="2827" y="1894"/>
                    <a:pt x="2827" y="1894"/>
                    <a:pt x="2827" y="1894"/>
                  </a:cubicBezTo>
                  <a:cubicBezTo>
                    <a:pt x="2900" y="1894"/>
                    <a:pt x="2900" y="1894"/>
                    <a:pt x="2900" y="1894"/>
                  </a:cubicBezTo>
                  <a:cubicBezTo>
                    <a:pt x="2867" y="2053"/>
                    <a:pt x="2867" y="2053"/>
                    <a:pt x="2867" y="2053"/>
                  </a:cubicBezTo>
                  <a:cubicBezTo>
                    <a:pt x="2856" y="2106"/>
                    <a:pt x="2855" y="2112"/>
                    <a:pt x="2854" y="2118"/>
                  </a:cubicBezTo>
                  <a:cubicBezTo>
                    <a:pt x="2853" y="2125"/>
                    <a:pt x="2852" y="2130"/>
                    <a:pt x="2852" y="2136"/>
                  </a:cubicBezTo>
                  <a:cubicBezTo>
                    <a:pt x="2783" y="2136"/>
                    <a:pt x="2783" y="2136"/>
                    <a:pt x="2783" y="2136"/>
                  </a:cubicBezTo>
                  <a:cubicBezTo>
                    <a:pt x="2787" y="2104"/>
                    <a:pt x="2787" y="2104"/>
                    <a:pt x="2787" y="2104"/>
                  </a:cubicBezTo>
                  <a:cubicBezTo>
                    <a:pt x="2778" y="2115"/>
                    <a:pt x="2753" y="2143"/>
                    <a:pt x="2707" y="2143"/>
                  </a:cubicBezTo>
                  <a:cubicBezTo>
                    <a:pt x="2675" y="2143"/>
                    <a:pt x="2651" y="2128"/>
                    <a:pt x="2641" y="2110"/>
                  </a:cubicBezTo>
                  <a:cubicBezTo>
                    <a:pt x="2630" y="2090"/>
                    <a:pt x="2637" y="2056"/>
                    <a:pt x="2639" y="2045"/>
                  </a:cubicBezTo>
                  <a:cubicBezTo>
                    <a:pt x="2671" y="1894"/>
                    <a:pt x="2671" y="1894"/>
                    <a:pt x="2671" y="1894"/>
                  </a:cubicBezTo>
                  <a:lnTo>
                    <a:pt x="2743" y="1894"/>
                  </a:lnTo>
                  <a:close/>
                  <a:moveTo>
                    <a:pt x="3181" y="1895"/>
                  </a:moveTo>
                  <a:cubicBezTo>
                    <a:pt x="3175" y="1914"/>
                    <a:pt x="3170" y="1930"/>
                    <a:pt x="3164" y="1955"/>
                  </a:cubicBezTo>
                  <a:cubicBezTo>
                    <a:pt x="3126" y="2134"/>
                    <a:pt x="3126" y="2134"/>
                    <a:pt x="3126" y="2134"/>
                  </a:cubicBezTo>
                  <a:cubicBezTo>
                    <a:pt x="3108" y="2223"/>
                    <a:pt x="3031" y="2232"/>
                    <a:pt x="2985" y="2232"/>
                  </a:cubicBezTo>
                  <a:cubicBezTo>
                    <a:pt x="2950" y="2232"/>
                    <a:pt x="2883" y="2228"/>
                    <a:pt x="2894" y="2154"/>
                  </a:cubicBezTo>
                  <a:cubicBezTo>
                    <a:pt x="2962" y="2154"/>
                    <a:pt x="2962" y="2154"/>
                    <a:pt x="2962" y="2154"/>
                  </a:cubicBezTo>
                  <a:cubicBezTo>
                    <a:pt x="2962" y="2158"/>
                    <a:pt x="2962" y="2166"/>
                    <a:pt x="2966" y="2174"/>
                  </a:cubicBezTo>
                  <a:cubicBezTo>
                    <a:pt x="2970" y="2181"/>
                    <a:pt x="2979" y="2188"/>
                    <a:pt x="2998" y="2188"/>
                  </a:cubicBezTo>
                  <a:cubicBezTo>
                    <a:pt x="3019" y="2188"/>
                    <a:pt x="3040" y="2178"/>
                    <a:pt x="3049" y="2156"/>
                  </a:cubicBezTo>
                  <a:cubicBezTo>
                    <a:pt x="3054" y="2144"/>
                    <a:pt x="3056" y="2135"/>
                    <a:pt x="3064" y="2099"/>
                  </a:cubicBezTo>
                  <a:cubicBezTo>
                    <a:pt x="3036" y="2128"/>
                    <a:pt x="3009" y="2132"/>
                    <a:pt x="2992" y="2132"/>
                  </a:cubicBezTo>
                  <a:cubicBezTo>
                    <a:pt x="2922" y="2132"/>
                    <a:pt x="2903" y="2071"/>
                    <a:pt x="2915" y="2012"/>
                  </a:cubicBezTo>
                  <a:cubicBezTo>
                    <a:pt x="2928" y="1951"/>
                    <a:pt x="2974" y="1892"/>
                    <a:pt x="3044" y="1892"/>
                  </a:cubicBezTo>
                  <a:cubicBezTo>
                    <a:pt x="3088" y="1892"/>
                    <a:pt x="3099" y="1916"/>
                    <a:pt x="3105" y="1927"/>
                  </a:cubicBezTo>
                  <a:cubicBezTo>
                    <a:pt x="3114" y="1895"/>
                    <a:pt x="3114" y="1895"/>
                    <a:pt x="3114" y="1895"/>
                  </a:cubicBezTo>
                  <a:lnTo>
                    <a:pt x="3181" y="1895"/>
                  </a:lnTo>
                  <a:close/>
                  <a:moveTo>
                    <a:pt x="3019" y="2083"/>
                  </a:moveTo>
                  <a:cubicBezTo>
                    <a:pt x="3069" y="2083"/>
                    <a:pt x="3081" y="2025"/>
                    <a:pt x="3083" y="2014"/>
                  </a:cubicBezTo>
                  <a:cubicBezTo>
                    <a:pt x="3089" y="1986"/>
                    <a:pt x="3094" y="1940"/>
                    <a:pt x="3051" y="1940"/>
                  </a:cubicBezTo>
                  <a:cubicBezTo>
                    <a:pt x="3024" y="1940"/>
                    <a:pt x="2997" y="1960"/>
                    <a:pt x="2986" y="2012"/>
                  </a:cubicBezTo>
                  <a:cubicBezTo>
                    <a:pt x="2984" y="2025"/>
                    <a:pt x="2971" y="2083"/>
                    <a:pt x="3019" y="2083"/>
                  </a:cubicBezTo>
                  <a:moveTo>
                    <a:pt x="3257" y="1790"/>
                  </a:moveTo>
                  <a:cubicBezTo>
                    <a:pt x="3327" y="1790"/>
                    <a:pt x="3327" y="1790"/>
                    <a:pt x="3327" y="1790"/>
                  </a:cubicBezTo>
                  <a:cubicBezTo>
                    <a:pt x="3298" y="1927"/>
                    <a:pt x="3298" y="1927"/>
                    <a:pt x="3298" y="1927"/>
                  </a:cubicBezTo>
                  <a:cubicBezTo>
                    <a:pt x="3309" y="1915"/>
                    <a:pt x="3332" y="1890"/>
                    <a:pt x="3376" y="1890"/>
                  </a:cubicBezTo>
                  <a:cubicBezTo>
                    <a:pt x="3412" y="1890"/>
                    <a:pt x="3431" y="1908"/>
                    <a:pt x="3440" y="1923"/>
                  </a:cubicBezTo>
                  <a:cubicBezTo>
                    <a:pt x="3446" y="1935"/>
                    <a:pt x="3448" y="1957"/>
                    <a:pt x="3441" y="1989"/>
                  </a:cubicBezTo>
                  <a:cubicBezTo>
                    <a:pt x="3410" y="2136"/>
                    <a:pt x="3410" y="2136"/>
                    <a:pt x="3410" y="2136"/>
                  </a:cubicBezTo>
                  <a:cubicBezTo>
                    <a:pt x="3340" y="2136"/>
                    <a:pt x="3340" y="2136"/>
                    <a:pt x="3340" y="2136"/>
                  </a:cubicBezTo>
                  <a:cubicBezTo>
                    <a:pt x="3370" y="1991"/>
                    <a:pt x="3370" y="1991"/>
                    <a:pt x="3370" y="1991"/>
                  </a:cubicBezTo>
                  <a:cubicBezTo>
                    <a:pt x="3373" y="1977"/>
                    <a:pt x="3382" y="1938"/>
                    <a:pt x="3342" y="1938"/>
                  </a:cubicBezTo>
                  <a:cubicBezTo>
                    <a:pt x="3322" y="1938"/>
                    <a:pt x="3293" y="1950"/>
                    <a:pt x="3286" y="1988"/>
                  </a:cubicBezTo>
                  <a:cubicBezTo>
                    <a:pt x="3255" y="2136"/>
                    <a:pt x="3255" y="2136"/>
                    <a:pt x="3255" y="2136"/>
                  </a:cubicBezTo>
                  <a:cubicBezTo>
                    <a:pt x="3183" y="2136"/>
                    <a:pt x="3183" y="2136"/>
                    <a:pt x="3183" y="2136"/>
                  </a:cubicBezTo>
                  <a:lnTo>
                    <a:pt x="3257" y="1790"/>
                  </a:lnTo>
                  <a:close/>
                  <a:moveTo>
                    <a:pt x="158" y="1980"/>
                  </a:moveTo>
                  <a:cubicBezTo>
                    <a:pt x="159" y="1971"/>
                    <a:pt x="164" y="1935"/>
                    <a:pt x="137" y="1935"/>
                  </a:cubicBezTo>
                  <a:cubicBezTo>
                    <a:pt x="103" y="1935"/>
                    <a:pt x="89" y="1986"/>
                    <a:pt x="83" y="2012"/>
                  </a:cubicBezTo>
                  <a:cubicBezTo>
                    <a:pt x="80" y="2026"/>
                    <a:pt x="72" y="2069"/>
                    <a:pt x="85" y="2087"/>
                  </a:cubicBezTo>
                  <a:cubicBezTo>
                    <a:pt x="90" y="2094"/>
                    <a:pt x="97" y="2095"/>
                    <a:pt x="102" y="2095"/>
                  </a:cubicBezTo>
                  <a:cubicBezTo>
                    <a:pt x="109" y="2095"/>
                    <a:pt x="133" y="2092"/>
                    <a:pt x="145" y="2048"/>
                  </a:cubicBezTo>
                  <a:cubicBezTo>
                    <a:pt x="215" y="2048"/>
                    <a:pt x="215" y="2048"/>
                    <a:pt x="215" y="2048"/>
                  </a:cubicBezTo>
                  <a:cubicBezTo>
                    <a:pt x="210" y="2067"/>
                    <a:pt x="201" y="2097"/>
                    <a:pt x="168" y="2120"/>
                  </a:cubicBezTo>
                  <a:cubicBezTo>
                    <a:pt x="148" y="2135"/>
                    <a:pt x="124" y="2143"/>
                    <a:pt x="94" y="2143"/>
                  </a:cubicBezTo>
                  <a:cubicBezTo>
                    <a:pt x="62" y="2143"/>
                    <a:pt x="35" y="2135"/>
                    <a:pt x="18" y="2110"/>
                  </a:cubicBezTo>
                  <a:cubicBezTo>
                    <a:pt x="2" y="2086"/>
                    <a:pt x="0" y="2053"/>
                    <a:pt x="8" y="2015"/>
                  </a:cubicBezTo>
                  <a:cubicBezTo>
                    <a:pt x="32" y="1904"/>
                    <a:pt x="116" y="1889"/>
                    <a:pt x="148" y="1889"/>
                  </a:cubicBezTo>
                  <a:cubicBezTo>
                    <a:pt x="193" y="1889"/>
                    <a:pt x="241" y="1914"/>
                    <a:pt x="228" y="1980"/>
                  </a:cubicBezTo>
                  <a:lnTo>
                    <a:pt x="158" y="1980"/>
                  </a:lnTo>
                  <a:close/>
                  <a:moveTo>
                    <a:pt x="3764" y="1980"/>
                  </a:moveTo>
                  <a:cubicBezTo>
                    <a:pt x="3765" y="1971"/>
                    <a:pt x="3770" y="1935"/>
                    <a:pt x="3742" y="1935"/>
                  </a:cubicBezTo>
                  <a:cubicBezTo>
                    <a:pt x="3709" y="1935"/>
                    <a:pt x="3694" y="1986"/>
                    <a:pt x="3688" y="2012"/>
                  </a:cubicBezTo>
                  <a:cubicBezTo>
                    <a:pt x="3685" y="2026"/>
                    <a:pt x="3678" y="2069"/>
                    <a:pt x="3691" y="2087"/>
                  </a:cubicBezTo>
                  <a:cubicBezTo>
                    <a:pt x="3695" y="2094"/>
                    <a:pt x="3703" y="2095"/>
                    <a:pt x="3708" y="2095"/>
                  </a:cubicBezTo>
                  <a:cubicBezTo>
                    <a:pt x="3715" y="2095"/>
                    <a:pt x="3738" y="2092"/>
                    <a:pt x="3751" y="2048"/>
                  </a:cubicBezTo>
                  <a:cubicBezTo>
                    <a:pt x="3820" y="2048"/>
                    <a:pt x="3820" y="2048"/>
                    <a:pt x="3820" y="2048"/>
                  </a:cubicBezTo>
                  <a:cubicBezTo>
                    <a:pt x="3816" y="2067"/>
                    <a:pt x="3807" y="2097"/>
                    <a:pt x="3774" y="2120"/>
                  </a:cubicBezTo>
                  <a:cubicBezTo>
                    <a:pt x="3754" y="2135"/>
                    <a:pt x="3730" y="2143"/>
                    <a:pt x="3700" y="2143"/>
                  </a:cubicBezTo>
                  <a:cubicBezTo>
                    <a:pt x="3668" y="2143"/>
                    <a:pt x="3641" y="2135"/>
                    <a:pt x="3624" y="2110"/>
                  </a:cubicBezTo>
                  <a:cubicBezTo>
                    <a:pt x="3608" y="2086"/>
                    <a:pt x="3606" y="2053"/>
                    <a:pt x="3614" y="2015"/>
                  </a:cubicBezTo>
                  <a:cubicBezTo>
                    <a:pt x="3638" y="1904"/>
                    <a:pt x="3722" y="1889"/>
                    <a:pt x="3754" y="1889"/>
                  </a:cubicBezTo>
                  <a:cubicBezTo>
                    <a:pt x="3799" y="1889"/>
                    <a:pt x="3847" y="1914"/>
                    <a:pt x="3834" y="1980"/>
                  </a:cubicBezTo>
                  <a:lnTo>
                    <a:pt x="3764" y="1980"/>
                  </a:lnTo>
                  <a:close/>
                  <a:moveTo>
                    <a:pt x="4010" y="1888"/>
                  </a:moveTo>
                  <a:cubicBezTo>
                    <a:pt x="4098" y="1888"/>
                    <a:pt x="4123" y="1948"/>
                    <a:pt x="4109" y="2015"/>
                  </a:cubicBezTo>
                  <a:cubicBezTo>
                    <a:pt x="4094" y="2083"/>
                    <a:pt x="4042" y="2145"/>
                    <a:pt x="3954" y="2145"/>
                  </a:cubicBezTo>
                  <a:cubicBezTo>
                    <a:pt x="3884" y="2145"/>
                    <a:pt x="3839" y="2102"/>
                    <a:pt x="3857" y="2017"/>
                  </a:cubicBezTo>
                  <a:cubicBezTo>
                    <a:pt x="3870" y="1959"/>
                    <a:pt x="3914" y="1888"/>
                    <a:pt x="4010" y="1888"/>
                  </a:cubicBezTo>
                  <a:moveTo>
                    <a:pt x="3967" y="2095"/>
                  </a:moveTo>
                  <a:cubicBezTo>
                    <a:pt x="3998" y="2095"/>
                    <a:pt x="4023" y="2077"/>
                    <a:pt x="4037" y="2012"/>
                  </a:cubicBezTo>
                  <a:cubicBezTo>
                    <a:pt x="4044" y="1980"/>
                    <a:pt x="4047" y="1935"/>
                    <a:pt x="4000" y="1935"/>
                  </a:cubicBezTo>
                  <a:cubicBezTo>
                    <a:pt x="3948" y="1935"/>
                    <a:pt x="3935" y="1995"/>
                    <a:pt x="3930" y="2018"/>
                  </a:cubicBezTo>
                  <a:cubicBezTo>
                    <a:pt x="3918" y="2072"/>
                    <a:pt x="3932" y="2095"/>
                    <a:pt x="3967" y="2095"/>
                  </a:cubicBezTo>
                  <a:moveTo>
                    <a:pt x="4173" y="1939"/>
                  </a:moveTo>
                  <a:cubicBezTo>
                    <a:pt x="4176" y="1924"/>
                    <a:pt x="4178" y="1909"/>
                    <a:pt x="4180" y="1894"/>
                  </a:cubicBezTo>
                  <a:cubicBezTo>
                    <a:pt x="4248" y="1894"/>
                    <a:pt x="4248" y="1894"/>
                    <a:pt x="4248" y="1894"/>
                  </a:cubicBezTo>
                  <a:cubicBezTo>
                    <a:pt x="4245" y="1925"/>
                    <a:pt x="4245" y="1925"/>
                    <a:pt x="4245" y="1925"/>
                  </a:cubicBezTo>
                  <a:cubicBezTo>
                    <a:pt x="4254" y="1915"/>
                    <a:pt x="4279" y="1889"/>
                    <a:pt x="4327" y="1889"/>
                  </a:cubicBezTo>
                  <a:cubicBezTo>
                    <a:pt x="4383" y="1889"/>
                    <a:pt x="4392" y="1923"/>
                    <a:pt x="4394" y="1934"/>
                  </a:cubicBezTo>
                  <a:cubicBezTo>
                    <a:pt x="4423" y="1895"/>
                    <a:pt x="4456" y="1889"/>
                    <a:pt x="4481" y="1889"/>
                  </a:cubicBezTo>
                  <a:cubicBezTo>
                    <a:pt x="4530" y="1889"/>
                    <a:pt x="4544" y="1918"/>
                    <a:pt x="4547" y="1928"/>
                  </a:cubicBezTo>
                  <a:cubicBezTo>
                    <a:pt x="4555" y="1949"/>
                    <a:pt x="4548" y="1978"/>
                    <a:pt x="4544" y="1999"/>
                  </a:cubicBezTo>
                  <a:cubicBezTo>
                    <a:pt x="4515" y="2136"/>
                    <a:pt x="4515" y="2136"/>
                    <a:pt x="4515" y="2136"/>
                  </a:cubicBezTo>
                  <a:cubicBezTo>
                    <a:pt x="4443" y="2136"/>
                    <a:pt x="4443" y="2136"/>
                    <a:pt x="4443" y="2136"/>
                  </a:cubicBezTo>
                  <a:cubicBezTo>
                    <a:pt x="4473" y="1994"/>
                    <a:pt x="4473" y="1994"/>
                    <a:pt x="4473" y="1994"/>
                  </a:cubicBezTo>
                  <a:cubicBezTo>
                    <a:pt x="4479" y="1968"/>
                    <a:pt x="4481" y="1939"/>
                    <a:pt x="4444" y="1939"/>
                  </a:cubicBezTo>
                  <a:cubicBezTo>
                    <a:pt x="4401" y="1939"/>
                    <a:pt x="4392" y="1979"/>
                    <a:pt x="4385" y="2015"/>
                  </a:cubicBezTo>
                  <a:cubicBezTo>
                    <a:pt x="4358" y="2136"/>
                    <a:pt x="4358" y="2136"/>
                    <a:pt x="4358" y="2136"/>
                  </a:cubicBezTo>
                  <a:cubicBezTo>
                    <a:pt x="4286" y="2136"/>
                    <a:pt x="4286" y="2136"/>
                    <a:pt x="4286" y="2136"/>
                  </a:cubicBezTo>
                  <a:cubicBezTo>
                    <a:pt x="4318" y="1992"/>
                    <a:pt x="4318" y="1992"/>
                    <a:pt x="4318" y="1992"/>
                  </a:cubicBezTo>
                  <a:cubicBezTo>
                    <a:pt x="4321" y="1974"/>
                    <a:pt x="4328" y="1939"/>
                    <a:pt x="4289" y="1939"/>
                  </a:cubicBezTo>
                  <a:cubicBezTo>
                    <a:pt x="4244" y="1939"/>
                    <a:pt x="4236" y="1977"/>
                    <a:pt x="4232" y="1994"/>
                  </a:cubicBezTo>
                  <a:cubicBezTo>
                    <a:pt x="4202" y="2136"/>
                    <a:pt x="4202" y="2136"/>
                    <a:pt x="4202" y="2136"/>
                  </a:cubicBezTo>
                  <a:cubicBezTo>
                    <a:pt x="4131" y="2136"/>
                    <a:pt x="4131" y="2136"/>
                    <a:pt x="4131" y="2136"/>
                  </a:cubicBezTo>
                  <a:lnTo>
                    <a:pt x="4173" y="1939"/>
                  </a:lnTo>
                  <a:close/>
                  <a:moveTo>
                    <a:pt x="4694" y="1894"/>
                  </a:moveTo>
                  <a:cubicBezTo>
                    <a:pt x="4689" y="1928"/>
                    <a:pt x="4689" y="1928"/>
                    <a:pt x="4689" y="1928"/>
                  </a:cubicBezTo>
                  <a:cubicBezTo>
                    <a:pt x="4719" y="1889"/>
                    <a:pt x="4759" y="1889"/>
                    <a:pt x="4771" y="1889"/>
                  </a:cubicBezTo>
                  <a:cubicBezTo>
                    <a:pt x="4834" y="1889"/>
                    <a:pt x="4862" y="1936"/>
                    <a:pt x="4846" y="2010"/>
                  </a:cubicBezTo>
                  <a:cubicBezTo>
                    <a:pt x="4832" y="2079"/>
                    <a:pt x="4783" y="2140"/>
                    <a:pt x="4713" y="2140"/>
                  </a:cubicBezTo>
                  <a:cubicBezTo>
                    <a:pt x="4669" y="2140"/>
                    <a:pt x="4656" y="2117"/>
                    <a:pt x="4652" y="2109"/>
                  </a:cubicBezTo>
                  <a:cubicBezTo>
                    <a:pt x="4626" y="2229"/>
                    <a:pt x="4626" y="2229"/>
                    <a:pt x="4626" y="2229"/>
                  </a:cubicBezTo>
                  <a:cubicBezTo>
                    <a:pt x="4554" y="2229"/>
                    <a:pt x="4554" y="2229"/>
                    <a:pt x="4554" y="2229"/>
                  </a:cubicBezTo>
                  <a:cubicBezTo>
                    <a:pt x="4625" y="1894"/>
                    <a:pt x="4625" y="1894"/>
                    <a:pt x="4625" y="1894"/>
                  </a:cubicBezTo>
                  <a:lnTo>
                    <a:pt x="4694" y="1894"/>
                  </a:lnTo>
                  <a:close/>
                  <a:moveTo>
                    <a:pt x="4774" y="2013"/>
                  </a:moveTo>
                  <a:cubicBezTo>
                    <a:pt x="4780" y="1984"/>
                    <a:pt x="4783" y="1935"/>
                    <a:pt x="4741" y="1935"/>
                  </a:cubicBezTo>
                  <a:cubicBezTo>
                    <a:pt x="4718" y="1935"/>
                    <a:pt x="4682" y="1952"/>
                    <a:pt x="4668" y="2017"/>
                  </a:cubicBezTo>
                  <a:cubicBezTo>
                    <a:pt x="4665" y="2031"/>
                    <a:pt x="4652" y="2093"/>
                    <a:pt x="4705" y="2093"/>
                  </a:cubicBezTo>
                  <a:cubicBezTo>
                    <a:pt x="4738" y="2093"/>
                    <a:pt x="4763" y="2061"/>
                    <a:pt x="4774" y="2013"/>
                  </a:cubicBezTo>
                  <a:moveTo>
                    <a:pt x="4936" y="1789"/>
                  </a:moveTo>
                  <a:cubicBezTo>
                    <a:pt x="5007" y="1789"/>
                    <a:pt x="5007" y="1789"/>
                    <a:pt x="5007" y="1789"/>
                  </a:cubicBezTo>
                  <a:cubicBezTo>
                    <a:pt x="4933" y="2136"/>
                    <a:pt x="4933" y="2136"/>
                    <a:pt x="4933" y="2136"/>
                  </a:cubicBezTo>
                  <a:cubicBezTo>
                    <a:pt x="4862" y="2136"/>
                    <a:pt x="4862" y="2136"/>
                    <a:pt x="4862" y="2136"/>
                  </a:cubicBezTo>
                  <a:lnTo>
                    <a:pt x="4936" y="1789"/>
                  </a:lnTo>
                  <a:close/>
                  <a:moveTo>
                    <a:pt x="5068" y="2033"/>
                  </a:moveTo>
                  <a:cubicBezTo>
                    <a:pt x="5064" y="2049"/>
                    <a:pt x="5054" y="2098"/>
                    <a:pt x="5104" y="2098"/>
                  </a:cubicBezTo>
                  <a:cubicBezTo>
                    <a:pt x="5121" y="2098"/>
                    <a:pt x="5140" y="2091"/>
                    <a:pt x="5153" y="2064"/>
                  </a:cubicBezTo>
                  <a:cubicBezTo>
                    <a:pt x="5218" y="2064"/>
                    <a:pt x="5218" y="2064"/>
                    <a:pt x="5218" y="2064"/>
                  </a:cubicBezTo>
                  <a:cubicBezTo>
                    <a:pt x="5214" y="2076"/>
                    <a:pt x="5208" y="2097"/>
                    <a:pt x="5184" y="2117"/>
                  </a:cubicBezTo>
                  <a:cubicBezTo>
                    <a:pt x="5162" y="2136"/>
                    <a:pt x="5128" y="2145"/>
                    <a:pt x="5092" y="2145"/>
                  </a:cubicBezTo>
                  <a:cubicBezTo>
                    <a:pt x="5072" y="2145"/>
                    <a:pt x="5033" y="2142"/>
                    <a:pt x="5013" y="2115"/>
                  </a:cubicBezTo>
                  <a:cubicBezTo>
                    <a:pt x="4996" y="2092"/>
                    <a:pt x="4994" y="2060"/>
                    <a:pt x="5002" y="2021"/>
                  </a:cubicBezTo>
                  <a:cubicBezTo>
                    <a:pt x="5011" y="1981"/>
                    <a:pt x="5030" y="1934"/>
                    <a:pt x="5077" y="1906"/>
                  </a:cubicBezTo>
                  <a:cubicBezTo>
                    <a:pt x="5099" y="1893"/>
                    <a:pt x="5123" y="1886"/>
                    <a:pt x="5150" y="1886"/>
                  </a:cubicBezTo>
                  <a:cubicBezTo>
                    <a:pt x="5184" y="1886"/>
                    <a:pt x="5222" y="1899"/>
                    <a:pt x="5235" y="1944"/>
                  </a:cubicBezTo>
                  <a:cubicBezTo>
                    <a:pt x="5244" y="1977"/>
                    <a:pt x="5236" y="2013"/>
                    <a:pt x="5231" y="2033"/>
                  </a:cubicBezTo>
                  <a:lnTo>
                    <a:pt x="5068" y="2033"/>
                  </a:lnTo>
                  <a:close/>
                  <a:moveTo>
                    <a:pt x="5167" y="1988"/>
                  </a:moveTo>
                  <a:cubicBezTo>
                    <a:pt x="5170" y="1977"/>
                    <a:pt x="5178" y="1934"/>
                    <a:pt x="5137" y="1934"/>
                  </a:cubicBezTo>
                  <a:cubicBezTo>
                    <a:pt x="5105" y="1934"/>
                    <a:pt x="5087" y="1960"/>
                    <a:pt x="5080" y="1988"/>
                  </a:cubicBezTo>
                  <a:lnTo>
                    <a:pt x="5167" y="1988"/>
                  </a:lnTo>
                  <a:close/>
                  <a:moveTo>
                    <a:pt x="5353" y="1894"/>
                  </a:moveTo>
                  <a:cubicBezTo>
                    <a:pt x="5382" y="1973"/>
                    <a:pt x="5382" y="1973"/>
                    <a:pt x="5382" y="1973"/>
                  </a:cubicBezTo>
                  <a:cubicBezTo>
                    <a:pt x="5447" y="1894"/>
                    <a:pt x="5447" y="1894"/>
                    <a:pt x="5447" y="1894"/>
                  </a:cubicBezTo>
                  <a:cubicBezTo>
                    <a:pt x="5520" y="1894"/>
                    <a:pt x="5520" y="1894"/>
                    <a:pt x="5520" y="1894"/>
                  </a:cubicBezTo>
                  <a:cubicBezTo>
                    <a:pt x="5417" y="2012"/>
                    <a:pt x="5417" y="2012"/>
                    <a:pt x="5417" y="2012"/>
                  </a:cubicBezTo>
                  <a:cubicBezTo>
                    <a:pt x="5471" y="2136"/>
                    <a:pt x="5471" y="2136"/>
                    <a:pt x="5471" y="2136"/>
                  </a:cubicBezTo>
                  <a:cubicBezTo>
                    <a:pt x="5388" y="2136"/>
                    <a:pt x="5388" y="2136"/>
                    <a:pt x="5388" y="2136"/>
                  </a:cubicBezTo>
                  <a:cubicBezTo>
                    <a:pt x="5357" y="2047"/>
                    <a:pt x="5357" y="2047"/>
                    <a:pt x="5357" y="2047"/>
                  </a:cubicBezTo>
                  <a:cubicBezTo>
                    <a:pt x="5289" y="2136"/>
                    <a:pt x="5289" y="2136"/>
                    <a:pt x="5289" y="2136"/>
                  </a:cubicBezTo>
                  <a:cubicBezTo>
                    <a:pt x="5214" y="2136"/>
                    <a:pt x="5214" y="2136"/>
                    <a:pt x="5214" y="2136"/>
                  </a:cubicBezTo>
                  <a:cubicBezTo>
                    <a:pt x="5323" y="2006"/>
                    <a:pt x="5323" y="2006"/>
                    <a:pt x="5323" y="2006"/>
                  </a:cubicBezTo>
                  <a:cubicBezTo>
                    <a:pt x="5269" y="1894"/>
                    <a:pt x="5269" y="1894"/>
                    <a:pt x="5269" y="1894"/>
                  </a:cubicBezTo>
                  <a:lnTo>
                    <a:pt x="5353" y="1894"/>
                  </a:lnTo>
                  <a:close/>
                  <a:moveTo>
                    <a:pt x="5553" y="1893"/>
                  </a:moveTo>
                  <a:cubicBezTo>
                    <a:pt x="5625" y="1893"/>
                    <a:pt x="5625" y="1893"/>
                    <a:pt x="5625" y="1893"/>
                  </a:cubicBezTo>
                  <a:cubicBezTo>
                    <a:pt x="5573" y="2136"/>
                    <a:pt x="5573" y="2136"/>
                    <a:pt x="5573" y="2136"/>
                  </a:cubicBezTo>
                  <a:cubicBezTo>
                    <a:pt x="5501" y="2136"/>
                    <a:pt x="5501" y="2136"/>
                    <a:pt x="5501" y="2136"/>
                  </a:cubicBezTo>
                  <a:lnTo>
                    <a:pt x="5553" y="1893"/>
                  </a:lnTo>
                  <a:close/>
                  <a:moveTo>
                    <a:pt x="5573" y="1790"/>
                  </a:moveTo>
                  <a:cubicBezTo>
                    <a:pt x="5648" y="1790"/>
                    <a:pt x="5648" y="1790"/>
                    <a:pt x="5648" y="1790"/>
                  </a:cubicBezTo>
                  <a:cubicBezTo>
                    <a:pt x="5636" y="1851"/>
                    <a:pt x="5636" y="1851"/>
                    <a:pt x="5636" y="1851"/>
                  </a:cubicBezTo>
                  <a:cubicBezTo>
                    <a:pt x="5560" y="1851"/>
                    <a:pt x="5560" y="1851"/>
                    <a:pt x="5560" y="1851"/>
                  </a:cubicBezTo>
                  <a:lnTo>
                    <a:pt x="5573" y="1790"/>
                  </a:lnTo>
                  <a:close/>
                  <a:moveTo>
                    <a:pt x="5775" y="2133"/>
                  </a:moveTo>
                  <a:cubicBezTo>
                    <a:pt x="5752" y="2139"/>
                    <a:pt x="5730" y="2141"/>
                    <a:pt x="5719" y="2141"/>
                  </a:cubicBezTo>
                  <a:cubicBezTo>
                    <a:pt x="5647" y="2141"/>
                    <a:pt x="5657" y="2095"/>
                    <a:pt x="5662" y="2075"/>
                  </a:cubicBezTo>
                  <a:cubicBezTo>
                    <a:pt x="5689" y="1942"/>
                    <a:pt x="5689" y="1942"/>
                    <a:pt x="5689" y="1942"/>
                  </a:cubicBezTo>
                  <a:cubicBezTo>
                    <a:pt x="5643" y="1942"/>
                    <a:pt x="5643" y="1942"/>
                    <a:pt x="5643" y="1942"/>
                  </a:cubicBezTo>
                  <a:cubicBezTo>
                    <a:pt x="5653" y="1895"/>
                    <a:pt x="5653" y="1895"/>
                    <a:pt x="5653" y="1895"/>
                  </a:cubicBezTo>
                  <a:cubicBezTo>
                    <a:pt x="5700" y="1895"/>
                    <a:pt x="5700" y="1895"/>
                    <a:pt x="5700" y="1895"/>
                  </a:cubicBezTo>
                  <a:cubicBezTo>
                    <a:pt x="5710" y="1848"/>
                    <a:pt x="5710" y="1848"/>
                    <a:pt x="5710" y="1848"/>
                  </a:cubicBezTo>
                  <a:cubicBezTo>
                    <a:pt x="5786" y="1822"/>
                    <a:pt x="5786" y="1822"/>
                    <a:pt x="5786" y="1822"/>
                  </a:cubicBezTo>
                  <a:cubicBezTo>
                    <a:pt x="5770" y="1895"/>
                    <a:pt x="5770" y="1895"/>
                    <a:pt x="5770" y="1895"/>
                  </a:cubicBezTo>
                  <a:cubicBezTo>
                    <a:pt x="5828" y="1895"/>
                    <a:pt x="5828" y="1895"/>
                    <a:pt x="5828" y="1895"/>
                  </a:cubicBezTo>
                  <a:cubicBezTo>
                    <a:pt x="5818" y="1942"/>
                    <a:pt x="5818" y="1942"/>
                    <a:pt x="5818" y="1942"/>
                  </a:cubicBezTo>
                  <a:cubicBezTo>
                    <a:pt x="5760" y="1942"/>
                    <a:pt x="5760" y="1942"/>
                    <a:pt x="5760" y="1942"/>
                  </a:cubicBezTo>
                  <a:cubicBezTo>
                    <a:pt x="5736" y="2052"/>
                    <a:pt x="5736" y="2052"/>
                    <a:pt x="5736" y="2052"/>
                  </a:cubicBezTo>
                  <a:cubicBezTo>
                    <a:pt x="5733" y="2074"/>
                    <a:pt x="5729" y="2088"/>
                    <a:pt x="5761" y="2088"/>
                  </a:cubicBezTo>
                  <a:cubicBezTo>
                    <a:pt x="5772" y="2088"/>
                    <a:pt x="5777" y="2087"/>
                    <a:pt x="5786" y="2086"/>
                  </a:cubicBezTo>
                  <a:lnTo>
                    <a:pt x="5775" y="2133"/>
                  </a:lnTo>
                  <a:close/>
                  <a:moveTo>
                    <a:pt x="5921" y="1894"/>
                  </a:moveTo>
                  <a:cubicBezTo>
                    <a:pt x="5939" y="2062"/>
                    <a:pt x="5939" y="2062"/>
                    <a:pt x="5939" y="2062"/>
                  </a:cubicBezTo>
                  <a:cubicBezTo>
                    <a:pt x="6028" y="1894"/>
                    <a:pt x="6028" y="1894"/>
                    <a:pt x="6028" y="1894"/>
                  </a:cubicBezTo>
                  <a:cubicBezTo>
                    <a:pt x="6099" y="1894"/>
                    <a:pt x="6099" y="1894"/>
                    <a:pt x="6099" y="1894"/>
                  </a:cubicBezTo>
                  <a:cubicBezTo>
                    <a:pt x="5957" y="2132"/>
                    <a:pt x="5957" y="2132"/>
                    <a:pt x="5957" y="2132"/>
                  </a:cubicBezTo>
                  <a:cubicBezTo>
                    <a:pt x="5907" y="2229"/>
                    <a:pt x="5907" y="2229"/>
                    <a:pt x="5907" y="2229"/>
                  </a:cubicBezTo>
                  <a:cubicBezTo>
                    <a:pt x="5835" y="2229"/>
                    <a:pt x="5835" y="2229"/>
                    <a:pt x="5835" y="2229"/>
                  </a:cubicBezTo>
                  <a:cubicBezTo>
                    <a:pt x="5886" y="2137"/>
                    <a:pt x="5886" y="2137"/>
                    <a:pt x="5886" y="2137"/>
                  </a:cubicBezTo>
                  <a:cubicBezTo>
                    <a:pt x="5844" y="1894"/>
                    <a:pt x="5844" y="1894"/>
                    <a:pt x="5844" y="1894"/>
                  </a:cubicBezTo>
                  <a:lnTo>
                    <a:pt x="5921" y="1894"/>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noAutofit/>
            </a:bodyPr>
            <a:lstStyle/>
            <a:p>
              <a:pPr algn="ctr" defTabSz="685783"/>
              <a:endParaRPr lang="en-GB">
                <a:solidFill>
                  <a:srgbClr val="000000"/>
                </a:solidFill>
                <a:cs typeface="Arial" charset="0"/>
              </a:endParaRPr>
            </a:p>
          </p:txBody>
        </p:sp>
        <p:sp>
          <p:nvSpPr>
            <p:cNvPr id="19" name="Freeform 15"/>
            <p:cNvSpPr>
              <a:spLocks noChangeAspect="1" noEditPoints="1"/>
            </p:cNvSpPr>
            <p:nvPr userDrawn="1"/>
          </p:nvSpPr>
          <p:spPr bwMode="hidden">
            <a:xfrm>
              <a:off x="128464" y="1"/>
              <a:ext cx="2160000" cy="1275101"/>
            </a:xfrm>
            <a:custGeom>
              <a:avLst/>
              <a:gdLst/>
              <a:ahLst/>
              <a:cxnLst>
                <a:cxn ang="0">
                  <a:pos x="176" y="248"/>
                </a:cxn>
                <a:cxn ang="0">
                  <a:pos x="0" y="248"/>
                </a:cxn>
                <a:cxn ang="0">
                  <a:pos x="0" y="0"/>
                </a:cxn>
                <a:cxn ang="0">
                  <a:pos x="176" y="0"/>
                </a:cxn>
                <a:cxn ang="0">
                  <a:pos x="176" y="248"/>
                </a:cxn>
                <a:cxn ang="0">
                  <a:pos x="176" y="716"/>
                </a:cxn>
                <a:cxn ang="0">
                  <a:pos x="0" y="716"/>
                </a:cxn>
                <a:cxn ang="0">
                  <a:pos x="0" y="964"/>
                </a:cxn>
                <a:cxn ang="0">
                  <a:pos x="176" y="964"/>
                </a:cxn>
                <a:cxn ang="0">
                  <a:pos x="176" y="716"/>
                </a:cxn>
                <a:cxn ang="0">
                  <a:pos x="1633" y="0"/>
                </a:cxn>
                <a:cxn ang="0">
                  <a:pos x="1457" y="0"/>
                </a:cxn>
                <a:cxn ang="0">
                  <a:pos x="1457" y="248"/>
                </a:cxn>
                <a:cxn ang="0">
                  <a:pos x="1633" y="248"/>
                </a:cxn>
                <a:cxn ang="0">
                  <a:pos x="1633" y="0"/>
                </a:cxn>
                <a:cxn ang="0">
                  <a:pos x="1633" y="716"/>
                </a:cxn>
                <a:cxn ang="0">
                  <a:pos x="1457" y="716"/>
                </a:cxn>
                <a:cxn ang="0">
                  <a:pos x="1457" y="964"/>
                </a:cxn>
                <a:cxn ang="0">
                  <a:pos x="1633" y="964"/>
                </a:cxn>
                <a:cxn ang="0">
                  <a:pos x="1633" y="716"/>
                </a:cxn>
              </a:cxnLst>
              <a:rect l="0" t="0" r="r" b="b"/>
              <a:pathLst>
                <a:path w="1633" h="964">
                  <a:moveTo>
                    <a:pt x="176" y="248"/>
                  </a:moveTo>
                  <a:lnTo>
                    <a:pt x="0" y="248"/>
                  </a:lnTo>
                  <a:lnTo>
                    <a:pt x="0" y="0"/>
                  </a:lnTo>
                  <a:lnTo>
                    <a:pt x="176" y="0"/>
                  </a:lnTo>
                  <a:lnTo>
                    <a:pt x="176" y="248"/>
                  </a:lnTo>
                  <a:close/>
                  <a:moveTo>
                    <a:pt x="176" y="716"/>
                  </a:moveTo>
                  <a:lnTo>
                    <a:pt x="0" y="716"/>
                  </a:lnTo>
                  <a:lnTo>
                    <a:pt x="0" y="964"/>
                  </a:lnTo>
                  <a:lnTo>
                    <a:pt x="176" y="964"/>
                  </a:lnTo>
                  <a:lnTo>
                    <a:pt x="176" y="716"/>
                  </a:lnTo>
                  <a:close/>
                  <a:moveTo>
                    <a:pt x="1633" y="0"/>
                  </a:moveTo>
                  <a:lnTo>
                    <a:pt x="1457" y="0"/>
                  </a:lnTo>
                  <a:lnTo>
                    <a:pt x="1457" y="248"/>
                  </a:lnTo>
                  <a:lnTo>
                    <a:pt x="1633" y="248"/>
                  </a:lnTo>
                  <a:lnTo>
                    <a:pt x="1633" y="0"/>
                  </a:lnTo>
                  <a:close/>
                  <a:moveTo>
                    <a:pt x="1633" y="716"/>
                  </a:moveTo>
                  <a:lnTo>
                    <a:pt x="1457" y="716"/>
                  </a:lnTo>
                  <a:lnTo>
                    <a:pt x="1457" y="964"/>
                  </a:lnTo>
                  <a:lnTo>
                    <a:pt x="1633" y="964"/>
                  </a:lnTo>
                  <a:lnTo>
                    <a:pt x="1633" y="716"/>
                  </a:lnTo>
                  <a:close/>
                </a:path>
              </a:pathLst>
            </a:custGeom>
            <a:noFill/>
            <a:ln w="9525">
              <a:noFill/>
              <a:round/>
              <a:headEnd/>
              <a:tailEnd/>
            </a:ln>
          </p:spPr>
          <p:txBody>
            <a:bodyPr vert="horz" wrap="square" lIns="91440" tIns="45720" rIns="91440" bIns="45720" numCol="1" anchor="t" anchorCtr="0" compatLnSpc="1">
              <a:prstTxWarp prst="textNoShape">
                <a:avLst/>
              </a:prstTxWarp>
              <a:noAutofit/>
            </a:bodyPr>
            <a:lstStyle/>
            <a:p>
              <a:pPr algn="ctr" defTabSz="685783"/>
              <a:endParaRPr lang="en-GB" dirty="0">
                <a:solidFill>
                  <a:srgbClr val="000000"/>
                </a:solidFill>
                <a:cs typeface="Arial" charset="0"/>
              </a:endParaRPr>
            </a:p>
          </p:txBody>
        </p:sp>
      </p:grpSp>
    </p:spTree>
    <p:extLst>
      <p:ext uri="{BB962C8B-B14F-4D97-AF65-F5344CB8AC3E}">
        <p14:creationId xmlns:p14="http://schemas.microsoft.com/office/powerpoint/2010/main" val="33966504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457201" y="914400"/>
            <a:ext cx="8229602" cy="3714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09738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916" userDrawn="1">
          <p15:clr>
            <a:srgbClr val="FBAE40"/>
          </p15:clr>
        </p15:guide>
        <p15:guide id="2" pos="288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5" name="Title 14"/>
          <p:cNvSpPr>
            <a:spLocks noGrp="1"/>
          </p:cNvSpPr>
          <p:nvPr>
            <p:ph type="title"/>
          </p:nvPr>
        </p:nvSpPr>
        <p:spPr bwMode="gray"/>
        <p:txBody>
          <a:bodyPr/>
          <a:lstStyle/>
          <a:p>
            <a:pPr lvl="0"/>
            <a:r>
              <a:rPr lang="en-US"/>
              <a:t>Click to edit Master title style</a:t>
            </a:r>
            <a:endParaRPr lang="en-GB" dirty="0"/>
          </a:p>
        </p:txBody>
      </p:sp>
      <p:sp>
        <p:nvSpPr>
          <p:cNvPr id="6" name="Text Placeholder 5"/>
          <p:cNvSpPr>
            <a:spLocks noGrp="1"/>
          </p:cNvSpPr>
          <p:nvPr>
            <p:ph type="body" sz="quarter" idx="10"/>
          </p:nvPr>
        </p:nvSpPr>
        <p:spPr bwMode="gray">
          <a:xfrm>
            <a:off x="2483770" y="844092"/>
            <a:ext cx="4249166" cy="3671874"/>
          </a:xfrm>
        </p:spPr>
        <p:txBody>
          <a:bodyPr anchorCtr="1"/>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7276083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GB" dirty="0"/>
          </a:p>
        </p:txBody>
      </p:sp>
    </p:spTree>
    <p:extLst>
      <p:ext uri="{BB962C8B-B14F-4D97-AF65-F5344CB8AC3E}">
        <p14:creationId xmlns:p14="http://schemas.microsoft.com/office/powerpoint/2010/main" val="17832747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15" name="Title 14"/>
          <p:cNvSpPr>
            <a:spLocks noGrp="1"/>
          </p:cNvSpPr>
          <p:nvPr>
            <p:ph type="title"/>
          </p:nvPr>
        </p:nvSpPr>
        <p:spPr bwMode="gray"/>
        <p:txBody>
          <a:bodyPr/>
          <a:lstStyle/>
          <a:p>
            <a:pPr lvl="0"/>
            <a:r>
              <a:rPr lang="en-US"/>
              <a:t>Click to edit Master title style</a:t>
            </a:r>
            <a:endParaRPr lang="en-GB" dirty="0"/>
          </a:p>
        </p:txBody>
      </p:sp>
      <p:sp>
        <p:nvSpPr>
          <p:cNvPr id="6" name="Text Placeholder 5"/>
          <p:cNvSpPr>
            <a:spLocks noGrp="1"/>
          </p:cNvSpPr>
          <p:nvPr>
            <p:ph type="body" sz="quarter" idx="10"/>
          </p:nvPr>
        </p:nvSpPr>
        <p:spPr bwMode="gray"/>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044922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wo Text">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GB" dirty="0"/>
          </a:p>
        </p:txBody>
      </p:sp>
      <p:sp>
        <p:nvSpPr>
          <p:cNvPr id="8" name="Text Placeholder 4"/>
          <p:cNvSpPr>
            <a:spLocks noGrp="1"/>
          </p:cNvSpPr>
          <p:nvPr>
            <p:ph type="body" sz="quarter" idx="10"/>
          </p:nvPr>
        </p:nvSpPr>
        <p:spPr bwMode="gray">
          <a:xfrm>
            <a:off x="251520" y="844095"/>
            <a:ext cx="4248472" cy="3671873"/>
          </a:xfrm>
        </p:spPr>
        <p:txBody>
          <a:bodyPr/>
          <a:lstStyle>
            <a:lvl3pPr marL="273038" indent="-273038">
              <a:defRPr/>
            </a:lvl3pPr>
            <a:lvl4pPr marL="536548" indent="-263513">
              <a:defRPr/>
            </a:lvl4pPr>
            <a:lvl5pPr marL="809585" indent="-271451">
              <a:defRPr/>
            </a:lvl5pPr>
            <a:lvl6pPr marL="1071509" indent="-26510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 Placeholder 4"/>
          <p:cNvSpPr>
            <a:spLocks noGrp="1"/>
          </p:cNvSpPr>
          <p:nvPr>
            <p:ph type="body" sz="quarter" idx="11"/>
          </p:nvPr>
        </p:nvSpPr>
        <p:spPr bwMode="gray">
          <a:xfrm>
            <a:off x="4716018" y="844095"/>
            <a:ext cx="4248472" cy="3671873"/>
          </a:xfrm>
        </p:spPr>
        <p:txBody>
          <a:bodyPr/>
          <a:lstStyle>
            <a:lvl3pPr marL="273038" indent="-273038">
              <a:defRPr/>
            </a:lvl3pPr>
            <a:lvl4pPr marL="536548" indent="-263513">
              <a:defRPr/>
            </a:lvl4pPr>
            <a:lvl5pPr marL="809585" indent="-271451">
              <a:defRPr/>
            </a:lvl5pPr>
            <a:lvl6pPr marL="1071509" indent="-265100" defTabSz="1071509">
              <a:tabLs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96070091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Four Text">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GB"/>
          </a:p>
        </p:txBody>
      </p:sp>
      <p:sp>
        <p:nvSpPr>
          <p:cNvPr id="10" name="Text Placeholder 9"/>
          <p:cNvSpPr>
            <a:spLocks noGrp="1"/>
          </p:cNvSpPr>
          <p:nvPr>
            <p:ph type="body" sz="quarter" idx="10"/>
          </p:nvPr>
        </p:nvSpPr>
        <p:spPr bwMode="gray">
          <a:xfrm>
            <a:off x="251520" y="844092"/>
            <a:ext cx="4248472" cy="1727658"/>
          </a:xfrm>
        </p:spPr>
        <p:txBody>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ext Placeholder 9"/>
          <p:cNvSpPr>
            <a:spLocks noGrp="1"/>
          </p:cNvSpPr>
          <p:nvPr>
            <p:ph type="body" sz="quarter" idx="11"/>
          </p:nvPr>
        </p:nvSpPr>
        <p:spPr bwMode="gray">
          <a:xfrm>
            <a:off x="4716018" y="844092"/>
            <a:ext cx="4248472" cy="1727658"/>
          </a:xfrm>
        </p:spPr>
        <p:txBody>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 Placeholder 9"/>
          <p:cNvSpPr>
            <a:spLocks noGrp="1"/>
          </p:cNvSpPr>
          <p:nvPr>
            <p:ph type="body" sz="quarter" idx="12"/>
          </p:nvPr>
        </p:nvSpPr>
        <p:spPr bwMode="gray">
          <a:xfrm>
            <a:off x="251520" y="2787774"/>
            <a:ext cx="4248472" cy="1727658"/>
          </a:xfrm>
        </p:spPr>
        <p:txBody>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 Placeholder 9"/>
          <p:cNvSpPr>
            <a:spLocks noGrp="1"/>
          </p:cNvSpPr>
          <p:nvPr>
            <p:ph type="body" sz="quarter" idx="13"/>
          </p:nvPr>
        </p:nvSpPr>
        <p:spPr bwMode="gray">
          <a:xfrm>
            <a:off x="4716018" y="2787774"/>
            <a:ext cx="4248472" cy="1727658"/>
          </a:xfrm>
        </p:spPr>
        <p:txBody>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86518530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e Chart One Text">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noAutofit/>
          </a:bodyPr>
          <a:lstStyle/>
          <a:p>
            <a:r>
              <a:rPr lang="en-US"/>
              <a:t>Click to edit Master title style</a:t>
            </a:r>
            <a:endParaRPr lang="en-GB" dirty="0"/>
          </a:p>
        </p:txBody>
      </p:sp>
      <p:sp>
        <p:nvSpPr>
          <p:cNvPr id="9" name="Text Placeholder 4"/>
          <p:cNvSpPr>
            <a:spLocks noGrp="1"/>
          </p:cNvSpPr>
          <p:nvPr>
            <p:ph type="body" sz="quarter" idx="11"/>
          </p:nvPr>
        </p:nvSpPr>
        <p:spPr bwMode="gray">
          <a:xfrm>
            <a:off x="4716018" y="843558"/>
            <a:ext cx="4248472" cy="3672408"/>
          </a:xfrm>
        </p:spPr>
        <p:txBody>
          <a:bodyPr>
            <a:noAutofit/>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Chart Placeholder 5"/>
          <p:cNvSpPr>
            <a:spLocks noGrp="1"/>
          </p:cNvSpPr>
          <p:nvPr>
            <p:ph type="chart" sz="quarter" idx="12" hasCustomPrompt="1"/>
          </p:nvPr>
        </p:nvSpPr>
        <p:spPr bwMode="gray">
          <a:xfrm>
            <a:off x="251520" y="843558"/>
            <a:ext cx="4248150" cy="3672408"/>
          </a:xfrm>
        </p:spPr>
        <p:txBody>
          <a:bodyPr rtlCol="0" anchor="ctr">
            <a:noAutofit/>
          </a:bodyPr>
          <a:lstStyle>
            <a:lvl1pPr algn="ctr">
              <a:defRPr/>
            </a:lvl1pPr>
          </a:lstStyle>
          <a:p>
            <a:pPr lvl="0"/>
            <a:r>
              <a:rPr lang="en-US" noProof="0" dirty="0"/>
              <a:t>Chart</a:t>
            </a:r>
            <a:endParaRPr lang="en-GB" noProof="0" dirty="0"/>
          </a:p>
        </p:txBody>
      </p:sp>
    </p:spTree>
    <p:extLst>
      <p:ext uri="{BB962C8B-B14F-4D97-AF65-F5344CB8AC3E}">
        <p14:creationId xmlns:p14="http://schemas.microsoft.com/office/powerpoint/2010/main" val="211221391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e Table One Text">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noAutofit/>
          </a:bodyPr>
          <a:lstStyle/>
          <a:p>
            <a:r>
              <a:rPr lang="en-US"/>
              <a:t>Click to edit Master title style</a:t>
            </a:r>
            <a:endParaRPr lang="en-GB" dirty="0"/>
          </a:p>
        </p:txBody>
      </p:sp>
      <p:sp>
        <p:nvSpPr>
          <p:cNvPr id="9" name="Text Placeholder 4"/>
          <p:cNvSpPr>
            <a:spLocks noGrp="1"/>
          </p:cNvSpPr>
          <p:nvPr>
            <p:ph type="body" sz="quarter" idx="11"/>
          </p:nvPr>
        </p:nvSpPr>
        <p:spPr bwMode="gray">
          <a:xfrm>
            <a:off x="4716018" y="843558"/>
            <a:ext cx="4248472" cy="3672408"/>
          </a:xfrm>
        </p:spPr>
        <p:txBody>
          <a:bodyPr>
            <a:noAutofit/>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able Placeholder 6"/>
          <p:cNvSpPr>
            <a:spLocks noGrp="1"/>
          </p:cNvSpPr>
          <p:nvPr>
            <p:ph type="tbl" sz="quarter" idx="12" hasCustomPrompt="1"/>
          </p:nvPr>
        </p:nvSpPr>
        <p:spPr bwMode="gray">
          <a:xfrm>
            <a:off x="251520" y="843558"/>
            <a:ext cx="4248472" cy="3672408"/>
          </a:xfrm>
        </p:spPr>
        <p:txBody>
          <a:bodyPr rtlCol="0" anchor="ctr">
            <a:noAutofit/>
          </a:bodyPr>
          <a:lstStyle>
            <a:lvl1pPr algn="ctr">
              <a:defRPr/>
            </a:lvl1pPr>
          </a:lstStyle>
          <a:p>
            <a:pPr lvl="0"/>
            <a:r>
              <a:rPr lang="en-US" noProof="0" dirty="0"/>
              <a:t>Table</a:t>
            </a:r>
            <a:endParaRPr lang="en-GB" noProof="0" dirty="0"/>
          </a:p>
        </p:txBody>
      </p:sp>
    </p:spTree>
    <p:extLst>
      <p:ext uri="{BB962C8B-B14F-4D97-AF65-F5344CB8AC3E}">
        <p14:creationId xmlns:p14="http://schemas.microsoft.com/office/powerpoint/2010/main" val="118658273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Two Rows Text">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GB" dirty="0"/>
          </a:p>
        </p:txBody>
      </p:sp>
      <p:sp>
        <p:nvSpPr>
          <p:cNvPr id="6" name="Text Placeholder 4"/>
          <p:cNvSpPr>
            <a:spLocks noGrp="1"/>
          </p:cNvSpPr>
          <p:nvPr>
            <p:ph type="body" sz="quarter" idx="10"/>
          </p:nvPr>
        </p:nvSpPr>
        <p:spPr bwMode="gray">
          <a:xfrm>
            <a:off x="251521" y="843558"/>
            <a:ext cx="8712968" cy="172819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ext Placeholder 4"/>
          <p:cNvSpPr>
            <a:spLocks noGrp="1"/>
          </p:cNvSpPr>
          <p:nvPr>
            <p:ph type="body" sz="quarter" idx="11"/>
          </p:nvPr>
        </p:nvSpPr>
        <p:spPr bwMode="gray">
          <a:xfrm>
            <a:off x="251521" y="2787774"/>
            <a:ext cx="8712968" cy="172819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62123693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One Chart One Row Text">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noAutofit/>
          </a:bodyPr>
          <a:lstStyle/>
          <a:p>
            <a:r>
              <a:rPr lang="en-US"/>
              <a:t>Click to edit Master title style</a:t>
            </a:r>
            <a:endParaRPr lang="en-GB" dirty="0"/>
          </a:p>
        </p:txBody>
      </p:sp>
      <p:sp>
        <p:nvSpPr>
          <p:cNvPr id="7" name="Text Placeholder 4"/>
          <p:cNvSpPr>
            <a:spLocks noGrp="1"/>
          </p:cNvSpPr>
          <p:nvPr>
            <p:ph type="body" sz="quarter" idx="11"/>
          </p:nvPr>
        </p:nvSpPr>
        <p:spPr bwMode="gray">
          <a:xfrm>
            <a:off x="251521" y="2787774"/>
            <a:ext cx="8712968" cy="1728192"/>
          </a:xfrm>
        </p:spPr>
        <p:txBody>
          <a:bodyPr>
            <a:noAutofit/>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Chart Placeholder 7"/>
          <p:cNvSpPr>
            <a:spLocks noGrp="1"/>
          </p:cNvSpPr>
          <p:nvPr>
            <p:ph type="chart" sz="quarter" idx="12" hasCustomPrompt="1"/>
          </p:nvPr>
        </p:nvSpPr>
        <p:spPr bwMode="gray">
          <a:xfrm>
            <a:off x="251522" y="843559"/>
            <a:ext cx="8712967" cy="1728192"/>
          </a:xfrm>
        </p:spPr>
        <p:txBody>
          <a:bodyPr rtlCol="0" anchor="ctr">
            <a:noAutofit/>
          </a:bodyPr>
          <a:lstStyle>
            <a:lvl1pPr algn="ctr">
              <a:defRPr/>
            </a:lvl1pPr>
          </a:lstStyle>
          <a:p>
            <a:pPr lvl="0"/>
            <a:r>
              <a:rPr lang="en-US" noProof="0" dirty="0"/>
              <a:t>Chart</a:t>
            </a:r>
            <a:endParaRPr lang="en-GB" noProof="0" dirty="0"/>
          </a:p>
        </p:txBody>
      </p:sp>
    </p:spTree>
    <p:extLst>
      <p:ext uri="{BB962C8B-B14F-4D97-AF65-F5344CB8AC3E}">
        <p14:creationId xmlns:p14="http://schemas.microsoft.com/office/powerpoint/2010/main" val="39830304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3911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57201" y="914400"/>
            <a:ext cx="8229601" cy="3714750"/>
          </a:xfrm>
          <a:prstGeom prst="rect">
            <a:avLst/>
          </a:prstGeom>
        </p:spPr>
        <p:txBody>
          <a:bodyPr/>
          <a:lstStyle>
            <a:lvl1pPr marL="0" indent="0">
              <a:buNone/>
              <a:defRPr>
                <a:solidFill>
                  <a:schemeClr val="accent1"/>
                </a:solidFill>
              </a:defRPr>
            </a:lvl1pPr>
            <a:lvl2pPr marL="0" indent="0">
              <a:buNone/>
              <a:defRPr b="0">
                <a:solidFill>
                  <a:schemeClr val="tx2"/>
                </a:solidFill>
              </a:defRPr>
            </a:lvl2pPr>
            <a:lvl3pPr marL="0" indent="0">
              <a:buNone/>
              <a:defRPr b="0">
                <a:solidFill>
                  <a:schemeClr val="tx2"/>
                </a:solidFill>
              </a:defRPr>
            </a:lvl3pPr>
            <a:lvl4pPr marL="227013" indent="-169863">
              <a:buClrTx/>
              <a:buFont typeface="Wingdings" panose="05000000000000000000" pitchFamily="2" charset="2"/>
              <a:buChar char="§"/>
              <a:defRPr>
                <a:solidFill>
                  <a:schemeClr val="tx2"/>
                </a:solidFill>
              </a:defRPr>
            </a:lvl4pPr>
            <a:lvl5pPr marL="514350" indent="-171450">
              <a:buClrTx/>
              <a:buFont typeface="Wingdings" panose="05000000000000000000" pitchFamily="2" charset="2"/>
              <a:buChar cha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81681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Four Chevrons">
    <p:spTree>
      <p:nvGrpSpPr>
        <p:cNvPr id="1" name=""/>
        <p:cNvGrpSpPr/>
        <p:nvPr/>
      </p:nvGrpSpPr>
      <p:grpSpPr>
        <a:xfrm>
          <a:off x="0" y="0"/>
          <a:ext cx="0" cy="0"/>
          <a:chOff x="0" y="0"/>
          <a:chExt cx="0" cy="0"/>
        </a:xfrm>
      </p:grpSpPr>
      <p:sp>
        <p:nvSpPr>
          <p:cNvPr id="11" name="Text Placeholder 20"/>
          <p:cNvSpPr>
            <a:spLocks noGrp="1"/>
          </p:cNvSpPr>
          <p:nvPr>
            <p:ph type="body" sz="quarter" idx="27"/>
          </p:nvPr>
        </p:nvSpPr>
        <p:spPr bwMode="gray">
          <a:xfrm>
            <a:off x="2483770" y="843560"/>
            <a:ext cx="2016125" cy="576233"/>
          </a:xfrm>
          <a:prstGeom prst="chevron">
            <a:avLst>
              <a:gd name="adj" fmla="val 34136"/>
            </a:avLst>
          </a:prstGeom>
          <a:gradFill>
            <a:gsLst>
              <a:gs pos="0">
                <a:srgbClr val="80BEC9"/>
              </a:gs>
              <a:gs pos="100000">
                <a:srgbClr val="409DAD"/>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40499" tIns="40499" rIns="40499" bIns="40499" rtlCol="0" anchor="ctr" anchorCtr="1">
            <a:noAutofit/>
          </a:bodyPr>
          <a:lstStyle>
            <a:lvl1pPr marL="0" algn="ctr" defTabSz="914355" rtl="0" eaLnBrk="1" latinLnBrk="0" hangingPunct="1">
              <a:defRPr lang="en-US" sz="140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lvl="0"/>
            <a:r>
              <a:rPr lang="en-US"/>
              <a:t>Click to edit Master text styles</a:t>
            </a:r>
          </a:p>
        </p:txBody>
      </p:sp>
      <p:sp>
        <p:nvSpPr>
          <p:cNvPr id="12" name="Text Placeholder 20"/>
          <p:cNvSpPr>
            <a:spLocks noGrp="1"/>
          </p:cNvSpPr>
          <p:nvPr>
            <p:ph type="body" sz="quarter" idx="26"/>
          </p:nvPr>
        </p:nvSpPr>
        <p:spPr bwMode="gray">
          <a:xfrm>
            <a:off x="251522" y="843560"/>
            <a:ext cx="2016125" cy="576233"/>
          </a:xfrm>
          <a:prstGeom prst="homePlate">
            <a:avLst>
              <a:gd name="adj" fmla="val 34577"/>
            </a:avLst>
          </a:prstGeom>
          <a:gradFill>
            <a:gsLst>
              <a:gs pos="0">
                <a:srgbClr val="80BEC9"/>
              </a:gs>
              <a:gs pos="100000">
                <a:srgbClr val="409DAD"/>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40499" tIns="40499" rIns="40499" bIns="40499" rtlCol="0" anchor="ctr" anchorCtr="1">
            <a:noAutofit/>
          </a:bodyPr>
          <a:lstStyle>
            <a:lvl1pPr marL="0" algn="ctr" defTabSz="914355" rtl="0" eaLnBrk="1" latinLnBrk="0" hangingPunct="1">
              <a:defRPr lang="en-US" sz="140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lvl="0"/>
            <a:r>
              <a:rPr lang="en-US"/>
              <a:t>Click to edit Master text styles</a:t>
            </a:r>
          </a:p>
        </p:txBody>
      </p:sp>
      <p:sp>
        <p:nvSpPr>
          <p:cNvPr id="6" name="Title 5"/>
          <p:cNvSpPr>
            <a:spLocks noGrp="1"/>
          </p:cNvSpPr>
          <p:nvPr>
            <p:ph type="title"/>
          </p:nvPr>
        </p:nvSpPr>
        <p:spPr bwMode="gray"/>
        <p:txBody>
          <a:bodyPr/>
          <a:lstStyle/>
          <a:p>
            <a:pPr lvl="0"/>
            <a:r>
              <a:rPr lang="en-US"/>
              <a:t>Click to edit Master title style</a:t>
            </a:r>
            <a:endParaRPr lang="en-GB" dirty="0"/>
          </a:p>
        </p:txBody>
      </p:sp>
      <p:sp>
        <p:nvSpPr>
          <p:cNvPr id="30" name="Text Placeholder 29"/>
          <p:cNvSpPr>
            <a:spLocks noGrp="1"/>
          </p:cNvSpPr>
          <p:nvPr>
            <p:ph type="body" sz="quarter" idx="13"/>
          </p:nvPr>
        </p:nvSpPr>
        <p:spPr bwMode="gray">
          <a:xfrm>
            <a:off x="251522" y="1635647"/>
            <a:ext cx="2016125" cy="28803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29"/>
          <p:cNvSpPr>
            <a:spLocks noGrp="1"/>
          </p:cNvSpPr>
          <p:nvPr>
            <p:ph type="body" sz="quarter" idx="28"/>
          </p:nvPr>
        </p:nvSpPr>
        <p:spPr bwMode="gray">
          <a:xfrm>
            <a:off x="2483770" y="1635647"/>
            <a:ext cx="2016125" cy="28803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29"/>
          <p:cNvSpPr>
            <a:spLocks noGrp="1"/>
          </p:cNvSpPr>
          <p:nvPr>
            <p:ph type="body" sz="quarter" idx="29"/>
          </p:nvPr>
        </p:nvSpPr>
        <p:spPr bwMode="gray">
          <a:xfrm>
            <a:off x="4716018" y="1635647"/>
            <a:ext cx="2016125" cy="28803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29"/>
          <p:cNvSpPr>
            <a:spLocks noGrp="1"/>
          </p:cNvSpPr>
          <p:nvPr>
            <p:ph type="body" sz="quarter" idx="30"/>
          </p:nvPr>
        </p:nvSpPr>
        <p:spPr bwMode="gray">
          <a:xfrm>
            <a:off x="6948266" y="1635647"/>
            <a:ext cx="2016125" cy="28803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20"/>
          <p:cNvSpPr>
            <a:spLocks noGrp="1"/>
          </p:cNvSpPr>
          <p:nvPr>
            <p:ph type="body" sz="quarter" idx="31"/>
          </p:nvPr>
        </p:nvSpPr>
        <p:spPr bwMode="gray">
          <a:xfrm>
            <a:off x="4716018" y="843560"/>
            <a:ext cx="2016125" cy="576233"/>
          </a:xfrm>
          <a:prstGeom prst="chevron">
            <a:avLst>
              <a:gd name="adj" fmla="val 34136"/>
            </a:avLst>
          </a:prstGeom>
          <a:gradFill>
            <a:gsLst>
              <a:gs pos="0">
                <a:srgbClr val="80BEC9"/>
              </a:gs>
              <a:gs pos="100000">
                <a:srgbClr val="409DAD"/>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40499" tIns="40499" rIns="40499" bIns="40499" rtlCol="0" anchor="ctr" anchorCtr="1">
            <a:noAutofit/>
          </a:bodyPr>
          <a:lstStyle>
            <a:lvl1pPr marL="0" algn="ctr" defTabSz="914355" rtl="0" eaLnBrk="1" latinLnBrk="0" hangingPunct="1">
              <a:defRPr lang="en-US" sz="140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lvl="0"/>
            <a:r>
              <a:rPr lang="en-US"/>
              <a:t>Click to edit Master text styles</a:t>
            </a:r>
          </a:p>
        </p:txBody>
      </p:sp>
      <p:sp>
        <p:nvSpPr>
          <p:cNvPr id="19" name="Text Placeholder 20"/>
          <p:cNvSpPr>
            <a:spLocks noGrp="1"/>
          </p:cNvSpPr>
          <p:nvPr>
            <p:ph type="body" sz="quarter" idx="32"/>
          </p:nvPr>
        </p:nvSpPr>
        <p:spPr bwMode="gray">
          <a:xfrm>
            <a:off x="6948266" y="843560"/>
            <a:ext cx="2016125" cy="576233"/>
          </a:xfrm>
          <a:prstGeom prst="chevron">
            <a:avLst>
              <a:gd name="adj" fmla="val 34136"/>
            </a:avLst>
          </a:prstGeom>
          <a:gradFill>
            <a:gsLst>
              <a:gs pos="0">
                <a:srgbClr val="80BEC9"/>
              </a:gs>
              <a:gs pos="100000">
                <a:srgbClr val="409DAD"/>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40499" tIns="40499" rIns="40499" bIns="40499" rtlCol="0" anchor="ctr" anchorCtr="1">
            <a:noAutofit/>
          </a:bodyPr>
          <a:lstStyle>
            <a:lvl1pPr marL="0" algn="ctr" defTabSz="914355" rtl="0" eaLnBrk="1" latinLnBrk="0" hangingPunct="1">
              <a:defRPr lang="en-US" sz="140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lvl="0"/>
            <a:r>
              <a:rPr lang="en-US"/>
              <a:t>Click to edit Master text styles</a:t>
            </a:r>
          </a:p>
        </p:txBody>
      </p:sp>
    </p:spTree>
    <p:extLst>
      <p:ext uri="{BB962C8B-B14F-4D97-AF65-F5344CB8AC3E}">
        <p14:creationId xmlns:p14="http://schemas.microsoft.com/office/powerpoint/2010/main" val="198645434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Five Chevrons">
    <p:spTree>
      <p:nvGrpSpPr>
        <p:cNvPr id="1" name=""/>
        <p:cNvGrpSpPr/>
        <p:nvPr/>
      </p:nvGrpSpPr>
      <p:grpSpPr>
        <a:xfrm>
          <a:off x="0" y="0"/>
          <a:ext cx="0" cy="0"/>
          <a:chOff x="0" y="0"/>
          <a:chExt cx="0" cy="0"/>
        </a:xfrm>
      </p:grpSpPr>
      <p:sp>
        <p:nvSpPr>
          <p:cNvPr id="6" name="Title 5"/>
          <p:cNvSpPr>
            <a:spLocks noGrp="1"/>
          </p:cNvSpPr>
          <p:nvPr>
            <p:ph type="title"/>
          </p:nvPr>
        </p:nvSpPr>
        <p:spPr bwMode="gray"/>
        <p:txBody>
          <a:bodyPr>
            <a:noAutofit/>
          </a:bodyPr>
          <a:lstStyle/>
          <a:p>
            <a:r>
              <a:rPr lang="en-US"/>
              <a:t>Click to edit Master title style</a:t>
            </a:r>
            <a:endParaRPr lang="en-GB" dirty="0"/>
          </a:p>
        </p:txBody>
      </p:sp>
      <p:sp>
        <p:nvSpPr>
          <p:cNvPr id="26" name="Text Placeholder 29"/>
          <p:cNvSpPr>
            <a:spLocks noGrp="1"/>
          </p:cNvSpPr>
          <p:nvPr>
            <p:ph type="body" sz="quarter" idx="13"/>
          </p:nvPr>
        </p:nvSpPr>
        <p:spPr bwMode="gray">
          <a:xfrm>
            <a:off x="251522" y="1635647"/>
            <a:ext cx="1584299" cy="2880320"/>
          </a:xfrm>
        </p:spPr>
        <p:txBody>
          <a:bodyPr>
            <a:noAutofit/>
          </a:bodyPr>
          <a:lstStyle>
            <a:lvl1pPr>
              <a:defRPr sz="1400"/>
            </a:lvl1pPr>
            <a:lvl2pPr>
              <a:defRPr sz="1400"/>
            </a:lvl2pPr>
            <a:lvl3pPr>
              <a:defRPr sz="1400"/>
            </a:lvl3pPr>
            <a:lvl4pPr>
              <a:defRPr sz="1400"/>
            </a:lvl4pPr>
            <a:lvl5pPr>
              <a:defRPr sz="1400"/>
            </a:lvl5pPr>
            <a:lvl6pPr>
              <a:defRPr sz="14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20"/>
          <p:cNvSpPr>
            <a:spLocks noGrp="1"/>
          </p:cNvSpPr>
          <p:nvPr>
            <p:ph type="body" sz="quarter" idx="27"/>
          </p:nvPr>
        </p:nvSpPr>
        <p:spPr bwMode="gray">
          <a:xfrm>
            <a:off x="2033717" y="843560"/>
            <a:ext cx="1584300" cy="576233"/>
          </a:xfrm>
          <a:prstGeom prst="chevron">
            <a:avLst>
              <a:gd name="adj" fmla="val 34136"/>
            </a:avLst>
          </a:prstGeom>
          <a:gradFill>
            <a:gsLst>
              <a:gs pos="0">
                <a:srgbClr val="80BEC9"/>
              </a:gs>
              <a:gs pos="100000">
                <a:srgbClr val="409DAD"/>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40499" tIns="40499" rIns="40499" bIns="40499" rtlCol="0" anchor="ctr" anchorCtr="1">
            <a:noAutofit/>
          </a:bodyPr>
          <a:lstStyle>
            <a:lvl1pPr marL="0" algn="ctr" defTabSz="914355" rtl="0" eaLnBrk="1" latinLnBrk="0" hangingPunct="1">
              <a:defRPr lang="en-US" sz="120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lvl="0"/>
            <a:r>
              <a:rPr lang="en-US"/>
              <a:t>Click to edit Master text styles</a:t>
            </a:r>
          </a:p>
        </p:txBody>
      </p:sp>
      <p:sp>
        <p:nvSpPr>
          <p:cNvPr id="15" name="Text Placeholder 20"/>
          <p:cNvSpPr>
            <a:spLocks noGrp="1"/>
          </p:cNvSpPr>
          <p:nvPr>
            <p:ph type="body" sz="quarter" idx="26"/>
          </p:nvPr>
        </p:nvSpPr>
        <p:spPr bwMode="gray">
          <a:xfrm>
            <a:off x="251522" y="843560"/>
            <a:ext cx="1584299" cy="576233"/>
          </a:xfrm>
          <a:prstGeom prst="homePlate">
            <a:avLst>
              <a:gd name="adj" fmla="val 34577"/>
            </a:avLst>
          </a:prstGeom>
          <a:gradFill>
            <a:gsLst>
              <a:gs pos="0">
                <a:srgbClr val="80BEC9"/>
              </a:gs>
              <a:gs pos="100000">
                <a:srgbClr val="409DAD"/>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40499" tIns="40499" rIns="40499" bIns="40499" rtlCol="0" anchor="ctr" anchorCtr="1">
            <a:noAutofit/>
          </a:bodyPr>
          <a:lstStyle>
            <a:lvl1pPr marL="0" algn="ctr" defTabSz="914355" rtl="0" eaLnBrk="1" latinLnBrk="0" hangingPunct="1">
              <a:defRPr lang="en-US" sz="120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lvl="0"/>
            <a:r>
              <a:rPr lang="en-US"/>
              <a:t>Click to edit Master text styles</a:t>
            </a:r>
          </a:p>
        </p:txBody>
      </p:sp>
      <p:sp>
        <p:nvSpPr>
          <p:cNvPr id="16" name="Text Placeholder 20"/>
          <p:cNvSpPr>
            <a:spLocks noGrp="1"/>
          </p:cNvSpPr>
          <p:nvPr>
            <p:ph type="body" sz="quarter" idx="28"/>
          </p:nvPr>
        </p:nvSpPr>
        <p:spPr bwMode="gray">
          <a:xfrm>
            <a:off x="3815915" y="843560"/>
            <a:ext cx="1584300" cy="576233"/>
          </a:xfrm>
          <a:prstGeom prst="chevron">
            <a:avLst>
              <a:gd name="adj" fmla="val 34136"/>
            </a:avLst>
          </a:prstGeom>
          <a:gradFill>
            <a:gsLst>
              <a:gs pos="0">
                <a:srgbClr val="80BEC9"/>
              </a:gs>
              <a:gs pos="100000">
                <a:srgbClr val="409DAD"/>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40499" tIns="40499" rIns="40499" bIns="40499" rtlCol="0" anchor="ctr" anchorCtr="1">
            <a:noAutofit/>
          </a:bodyPr>
          <a:lstStyle>
            <a:lvl1pPr marL="0" algn="ctr" defTabSz="914355" rtl="0" eaLnBrk="1" latinLnBrk="0" hangingPunct="1">
              <a:defRPr lang="en-US" sz="120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lvl="0"/>
            <a:r>
              <a:rPr lang="en-US"/>
              <a:t>Click to edit Master text styles</a:t>
            </a:r>
          </a:p>
        </p:txBody>
      </p:sp>
      <p:sp>
        <p:nvSpPr>
          <p:cNvPr id="17" name="Text Placeholder 20"/>
          <p:cNvSpPr>
            <a:spLocks noGrp="1"/>
          </p:cNvSpPr>
          <p:nvPr>
            <p:ph type="body" sz="quarter" idx="29"/>
          </p:nvPr>
        </p:nvSpPr>
        <p:spPr bwMode="gray">
          <a:xfrm>
            <a:off x="5598113" y="843560"/>
            <a:ext cx="1584300" cy="576233"/>
          </a:xfrm>
          <a:prstGeom prst="chevron">
            <a:avLst>
              <a:gd name="adj" fmla="val 34136"/>
            </a:avLst>
          </a:prstGeom>
          <a:gradFill>
            <a:gsLst>
              <a:gs pos="0">
                <a:srgbClr val="80BEC9"/>
              </a:gs>
              <a:gs pos="100000">
                <a:srgbClr val="409DAD"/>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40499" tIns="40499" rIns="40499" bIns="40499" rtlCol="0" anchor="ctr" anchorCtr="1">
            <a:noAutofit/>
          </a:bodyPr>
          <a:lstStyle>
            <a:lvl1pPr marL="0" algn="ctr" defTabSz="914355" rtl="0" eaLnBrk="1" latinLnBrk="0" hangingPunct="1">
              <a:defRPr lang="en-US" sz="120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lvl="0"/>
            <a:r>
              <a:rPr lang="en-US"/>
              <a:t>Click to edit Master text styles</a:t>
            </a:r>
          </a:p>
        </p:txBody>
      </p:sp>
      <p:sp>
        <p:nvSpPr>
          <p:cNvPr id="19" name="Text Placeholder 20"/>
          <p:cNvSpPr>
            <a:spLocks noGrp="1"/>
          </p:cNvSpPr>
          <p:nvPr>
            <p:ph type="body" sz="quarter" idx="30"/>
          </p:nvPr>
        </p:nvSpPr>
        <p:spPr bwMode="gray">
          <a:xfrm>
            <a:off x="7380312" y="843560"/>
            <a:ext cx="1584300" cy="576233"/>
          </a:xfrm>
          <a:prstGeom prst="chevron">
            <a:avLst>
              <a:gd name="adj" fmla="val 34136"/>
            </a:avLst>
          </a:prstGeom>
          <a:gradFill>
            <a:gsLst>
              <a:gs pos="0">
                <a:srgbClr val="80BEC9"/>
              </a:gs>
              <a:gs pos="100000">
                <a:srgbClr val="409DAD"/>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40499" tIns="40499" rIns="40499" bIns="40499" rtlCol="0" anchor="ctr" anchorCtr="1">
            <a:noAutofit/>
          </a:bodyPr>
          <a:lstStyle>
            <a:lvl1pPr marL="0" algn="ctr" defTabSz="914355" rtl="0" eaLnBrk="1" latinLnBrk="0" hangingPunct="1">
              <a:defRPr lang="en-US" sz="120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lvl="0"/>
            <a:r>
              <a:rPr lang="en-US"/>
              <a:t>Click to edit Master text styles</a:t>
            </a:r>
          </a:p>
        </p:txBody>
      </p:sp>
      <p:sp>
        <p:nvSpPr>
          <p:cNvPr id="13" name="Text Placeholder 29"/>
          <p:cNvSpPr>
            <a:spLocks noGrp="1"/>
          </p:cNvSpPr>
          <p:nvPr>
            <p:ph type="body" sz="quarter" idx="31"/>
          </p:nvPr>
        </p:nvSpPr>
        <p:spPr bwMode="gray">
          <a:xfrm>
            <a:off x="2051722" y="1635647"/>
            <a:ext cx="1584299" cy="2880320"/>
          </a:xfrm>
        </p:spPr>
        <p:txBody>
          <a:bodyPr>
            <a:noAutofit/>
          </a:bodyPr>
          <a:lstStyle>
            <a:lvl1pPr>
              <a:defRPr sz="1400"/>
            </a:lvl1pPr>
            <a:lvl2pPr>
              <a:defRPr sz="1400"/>
            </a:lvl2pPr>
            <a:lvl3pPr>
              <a:defRPr sz="1400"/>
            </a:lvl3pPr>
            <a:lvl4pPr>
              <a:defRPr sz="1400"/>
            </a:lvl4pPr>
            <a:lvl5pPr>
              <a:defRPr sz="1400"/>
            </a:lvl5pPr>
            <a:lvl6pPr>
              <a:defRPr sz="14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29"/>
          <p:cNvSpPr>
            <a:spLocks noGrp="1"/>
          </p:cNvSpPr>
          <p:nvPr>
            <p:ph type="body" sz="quarter" idx="32"/>
          </p:nvPr>
        </p:nvSpPr>
        <p:spPr bwMode="gray">
          <a:xfrm>
            <a:off x="3851922" y="1635647"/>
            <a:ext cx="1584299" cy="2880320"/>
          </a:xfrm>
        </p:spPr>
        <p:txBody>
          <a:bodyPr>
            <a:noAutofit/>
          </a:bodyPr>
          <a:lstStyle>
            <a:lvl1pPr>
              <a:defRPr sz="1400"/>
            </a:lvl1pPr>
            <a:lvl2pPr>
              <a:defRPr sz="1400"/>
            </a:lvl2pPr>
            <a:lvl3pPr>
              <a:defRPr sz="1400"/>
            </a:lvl3pPr>
            <a:lvl4pPr>
              <a:defRPr sz="1400"/>
            </a:lvl4pPr>
            <a:lvl5pPr>
              <a:defRPr sz="1400"/>
            </a:lvl5pPr>
            <a:lvl6pPr>
              <a:defRPr sz="14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29"/>
          <p:cNvSpPr>
            <a:spLocks noGrp="1"/>
          </p:cNvSpPr>
          <p:nvPr>
            <p:ph type="body" sz="quarter" idx="33"/>
          </p:nvPr>
        </p:nvSpPr>
        <p:spPr bwMode="gray">
          <a:xfrm>
            <a:off x="5580114" y="1635647"/>
            <a:ext cx="1584299" cy="2880320"/>
          </a:xfrm>
        </p:spPr>
        <p:txBody>
          <a:bodyPr>
            <a:noAutofit/>
          </a:bodyPr>
          <a:lstStyle>
            <a:lvl1pPr>
              <a:defRPr sz="1400"/>
            </a:lvl1pPr>
            <a:lvl2pPr>
              <a:defRPr sz="1400"/>
            </a:lvl2pPr>
            <a:lvl3pPr>
              <a:defRPr sz="1400"/>
            </a:lvl3pPr>
            <a:lvl4pPr>
              <a:defRPr sz="1400"/>
            </a:lvl4pPr>
            <a:lvl5pPr>
              <a:defRPr sz="1400"/>
            </a:lvl5pPr>
            <a:lvl6pPr>
              <a:defRPr sz="14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ext Placeholder 29"/>
          <p:cNvSpPr>
            <a:spLocks noGrp="1"/>
          </p:cNvSpPr>
          <p:nvPr>
            <p:ph type="body" sz="quarter" idx="34"/>
          </p:nvPr>
        </p:nvSpPr>
        <p:spPr bwMode="gray">
          <a:xfrm>
            <a:off x="7380314" y="1635647"/>
            <a:ext cx="1584299" cy="2880320"/>
          </a:xfrm>
        </p:spPr>
        <p:txBody>
          <a:bodyPr>
            <a:noAutofit/>
          </a:bodyPr>
          <a:lstStyle>
            <a:lvl1pPr>
              <a:defRPr sz="1400"/>
            </a:lvl1pPr>
            <a:lvl2pPr>
              <a:defRPr sz="1400"/>
            </a:lvl2pPr>
            <a:lvl3pPr>
              <a:defRPr sz="1400"/>
            </a:lvl3pPr>
            <a:lvl4pPr>
              <a:defRPr sz="1400"/>
            </a:lvl4pPr>
            <a:lvl5pPr>
              <a:defRPr sz="1400"/>
            </a:lvl5pPr>
            <a:lvl6pPr>
              <a:defRPr sz="14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3216027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ands and drivers">
    <p:spTree>
      <p:nvGrpSpPr>
        <p:cNvPr id="1" name=""/>
        <p:cNvGrpSpPr/>
        <p:nvPr/>
      </p:nvGrpSpPr>
      <p:grpSpPr>
        <a:xfrm>
          <a:off x="0" y="0"/>
          <a:ext cx="0" cy="0"/>
          <a:chOff x="0" y="0"/>
          <a:chExt cx="0" cy="0"/>
        </a:xfrm>
      </p:grpSpPr>
      <p:sp>
        <p:nvSpPr>
          <p:cNvPr id="25" name="AutoShape 20"/>
          <p:cNvSpPr>
            <a:spLocks noChangeArrowheads="1"/>
          </p:cNvSpPr>
          <p:nvPr userDrawn="1"/>
        </p:nvSpPr>
        <p:spPr bwMode="gray">
          <a:xfrm rot="19080000" flipH="1">
            <a:off x="4890938" y="1645954"/>
            <a:ext cx="1226753" cy="312090"/>
          </a:xfrm>
          <a:prstGeom prst="rightArrow">
            <a:avLst>
              <a:gd name="adj1" fmla="val 63333"/>
              <a:gd name="adj2" fmla="val 49582"/>
            </a:avLst>
          </a:prstGeom>
          <a:gradFill rotWithShape="1">
            <a:gsLst>
              <a:gs pos="0">
                <a:srgbClr val="DCDDDD"/>
              </a:gs>
              <a:gs pos="100000">
                <a:srgbClr val="97989A"/>
              </a:gs>
            </a:gsLst>
            <a:lin ang="0" scaled="1"/>
          </a:gradFill>
          <a:ln w="6350" algn="ctr">
            <a:noFill/>
            <a:miter lim="800000"/>
            <a:headEnd/>
            <a:tailEnd/>
          </a:ln>
          <a:effectLst/>
        </p:spPr>
        <p:txBody>
          <a:bodyPr rot="10800000" wrap="none" lIns="68579" tIns="34289" rIns="68579" bIns="34289" anchor="ctr">
            <a:noAutofit/>
          </a:bodyPr>
          <a:lstStyle/>
          <a:p>
            <a:pPr algn="ctr" defTabSz="685783"/>
            <a:endParaRPr lang="en-CA" dirty="0">
              <a:solidFill>
                <a:srgbClr val="000000"/>
              </a:solidFill>
              <a:cs typeface="Arial" charset="0"/>
            </a:endParaRPr>
          </a:p>
        </p:txBody>
      </p:sp>
      <p:sp>
        <p:nvSpPr>
          <p:cNvPr id="26" name="AutoShape 17"/>
          <p:cNvSpPr>
            <a:spLocks noChangeArrowheads="1"/>
          </p:cNvSpPr>
          <p:nvPr userDrawn="1"/>
        </p:nvSpPr>
        <p:spPr bwMode="gray">
          <a:xfrm rot="2520000" flipH="1">
            <a:off x="4890938" y="3446154"/>
            <a:ext cx="1226753" cy="312090"/>
          </a:xfrm>
          <a:prstGeom prst="rightArrow">
            <a:avLst>
              <a:gd name="adj1" fmla="val 63333"/>
              <a:gd name="adj2" fmla="val 49582"/>
            </a:avLst>
          </a:prstGeom>
          <a:gradFill rotWithShape="1">
            <a:gsLst>
              <a:gs pos="0">
                <a:srgbClr val="DCDDDD"/>
              </a:gs>
              <a:gs pos="100000">
                <a:srgbClr val="97989A"/>
              </a:gs>
            </a:gsLst>
            <a:lin ang="0" scaled="1"/>
          </a:gradFill>
          <a:ln w="6350" algn="ctr">
            <a:noFill/>
            <a:miter lim="800000"/>
            <a:headEnd/>
            <a:tailEnd/>
          </a:ln>
          <a:effectLst/>
        </p:spPr>
        <p:txBody>
          <a:bodyPr rot="10800000" wrap="none" lIns="68579" tIns="34289" rIns="68579" bIns="34289" anchor="ctr">
            <a:noAutofit/>
          </a:bodyPr>
          <a:lstStyle/>
          <a:p>
            <a:pPr defTabSz="685783"/>
            <a:endParaRPr lang="en-CA" dirty="0">
              <a:solidFill>
                <a:srgbClr val="000000"/>
              </a:solidFill>
              <a:cs typeface="Arial" charset="0"/>
            </a:endParaRPr>
          </a:p>
        </p:txBody>
      </p:sp>
      <p:sp>
        <p:nvSpPr>
          <p:cNvPr id="27" name="AutoShape 20"/>
          <p:cNvSpPr>
            <a:spLocks noChangeArrowheads="1"/>
          </p:cNvSpPr>
          <p:nvPr userDrawn="1"/>
        </p:nvSpPr>
        <p:spPr bwMode="gray">
          <a:xfrm rot="2520000">
            <a:off x="3078707" y="1645954"/>
            <a:ext cx="1226753" cy="312090"/>
          </a:xfrm>
          <a:prstGeom prst="rightArrow">
            <a:avLst>
              <a:gd name="adj1" fmla="val 63333"/>
              <a:gd name="adj2" fmla="val 49582"/>
            </a:avLst>
          </a:prstGeom>
          <a:gradFill rotWithShape="1">
            <a:gsLst>
              <a:gs pos="0">
                <a:srgbClr val="DCDDDD"/>
              </a:gs>
              <a:gs pos="100000">
                <a:srgbClr val="97989A"/>
              </a:gs>
            </a:gsLst>
            <a:lin ang="0" scaled="1"/>
          </a:gradFill>
          <a:ln w="6350" algn="ctr">
            <a:noFill/>
            <a:miter lim="800000"/>
            <a:headEnd/>
            <a:tailEnd/>
          </a:ln>
          <a:effectLst/>
        </p:spPr>
        <p:txBody>
          <a:bodyPr rot="10800000" wrap="none" lIns="68579" tIns="34289" rIns="68579" bIns="34289" anchor="ctr">
            <a:noAutofit/>
          </a:bodyPr>
          <a:lstStyle/>
          <a:p>
            <a:pPr algn="ctr" defTabSz="685783"/>
            <a:endParaRPr lang="en-CA" dirty="0">
              <a:solidFill>
                <a:srgbClr val="000000"/>
              </a:solidFill>
              <a:cs typeface="Arial" charset="0"/>
            </a:endParaRPr>
          </a:p>
        </p:txBody>
      </p:sp>
      <p:sp>
        <p:nvSpPr>
          <p:cNvPr id="28" name="AutoShape 17"/>
          <p:cNvSpPr>
            <a:spLocks noChangeArrowheads="1"/>
          </p:cNvSpPr>
          <p:nvPr userDrawn="1"/>
        </p:nvSpPr>
        <p:spPr bwMode="gray">
          <a:xfrm rot="19080000">
            <a:off x="3078707" y="3446154"/>
            <a:ext cx="1226753" cy="312090"/>
          </a:xfrm>
          <a:prstGeom prst="rightArrow">
            <a:avLst>
              <a:gd name="adj1" fmla="val 63333"/>
              <a:gd name="adj2" fmla="val 49582"/>
            </a:avLst>
          </a:prstGeom>
          <a:gradFill rotWithShape="1">
            <a:gsLst>
              <a:gs pos="0">
                <a:srgbClr val="DCDDDD"/>
              </a:gs>
              <a:gs pos="100000">
                <a:srgbClr val="97989A"/>
              </a:gs>
            </a:gsLst>
            <a:lin ang="0" scaled="1"/>
          </a:gradFill>
          <a:ln w="6350" algn="ctr">
            <a:noFill/>
            <a:miter lim="800000"/>
            <a:headEnd/>
            <a:tailEnd/>
          </a:ln>
          <a:effectLst/>
        </p:spPr>
        <p:txBody>
          <a:bodyPr rot="10800000" wrap="none" lIns="68579" tIns="34289" rIns="68579" bIns="34289" anchor="ctr">
            <a:noAutofit/>
          </a:bodyPr>
          <a:lstStyle/>
          <a:p>
            <a:pPr defTabSz="685783"/>
            <a:endParaRPr lang="en-CA" dirty="0">
              <a:solidFill>
                <a:srgbClr val="000000"/>
              </a:solidFill>
              <a:cs typeface="Arial" charset="0"/>
            </a:endParaRPr>
          </a:p>
        </p:txBody>
      </p:sp>
      <p:sp>
        <p:nvSpPr>
          <p:cNvPr id="29" name="Text Placeholder 10"/>
          <p:cNvSpPr>
            <a:spLocks noGrp="1"/>
          </p:cNvSpPr>
          <p:nvPr>
            <p:ph type="body" sz="quarter" idx="41"/>
          </p:nvPr>
        </p:nvSpPr>
        <p:spPr bwMode="gray">
          <a:xfrm>
            <a:off x="4023867" y="2345765"/>
            <a:ext cx="1180956" cy="672738"/>
          </a:xfrm>
          <a:prstGeom prst="ellipse">
            <a:avLst/>
          </a:prstGeom>
          <a:solidFill>
            <a:srgbClr val="AA5CAA"/>
          </a:solidFill>
          <a:ln>
            <a:noFill/>
          </a:ln>
        </p:spPr>
        <p:txBody>
          <a:bodyPr lIns="40499" tIns="40499" rIns="40499" bIns="40499" anchor="ctr" anchorCtr="1">
            <a:noAutofit/>
          </a:bodyPr>
          <a:lstStyle>
            <a:lvl1pPr algn="ctr">
              <a:defRPr>
                <a:solidFill>
                  <a:schemeClr val="bg1"/>
                </a:solidFill>
              </a:defRPr>
            </a:lvl1pPr>
          </a:lstStyle>
          <a:p>
            <a:pPr lvl="0"/>
            <a:r>
              <a:rPr lang="en-US"/>
              <a:t>Click to edit Master text styles</a:t>
            </a:r>
          </a:p>
        </p:txBody>
      </p:sp>
      <p:sp>
        <p:nvSpPr>
          <p:cNvPr id="10" name="Title 9"/>
          <p:cNvSpPr>
            <a:spLocks noGrp="1"/>
          </p:cNvSpPr>
          <p:nvPr>
            <p:ph type="title"/>
          </p:nvPr>
        </p:nvSpPr>
        <p:spPr bwMode="gray"/>
        <p:txBody>
          <a:bodyPr>
            <a:noAutofit/>
          </a:bodyPr>
          <a:lstStyle/>
          <a:p>
            <a:r>
              <a:rPr lang="en-US"/>
              <a:t>Click to edit Master title style</a:t>
            </a:r>
            <a:endParaRPr lang="en-GB"/>
          </a:p>
        </p:txBody>
      </p:sp>
      <p:sp>
        <p:nvSpPr>
          <p:cNvPr id="11" name="Text Placeholder 20"/>
          <p:cNvSpPr>
            <a:spLocks noGrp="1"/>
          </p:cNvSpPr>
          <p:nvPr>
            <p:ph type="body" sz="quarter" idx="21"/>
          </p:nvPr>
        </p:nvSpPr>
        <p:spPr bwMode="gray">
          <a:xfrm>
            <a:off x="251521" y="1203598"/>
            <a:ext cx="3312368" cy="1368152"/>
          </a:xfrm>
          <a:solidFill>
            <a:schemeClr val="bg1"/>
          </a:solidFill>
          <a:ln w="12700">
            <a:solidFill>
              <a:srgbClr val="007C92"/>
            </a:solidFill>
          </a:ln>
        </p:spPr>
        <p:txBody>
          <a:bodyPr lIns="40499" tIns="40499" rIns="40499" bIns="40499">
            <a:noAutofit/>
          </a:bodyPr>
          <a:lstStyle>
            <a:lvl1pPr>
              <a:defRPr sz="1600"/>
            </a:lvl1pPr>
            <a:lvl2pPr>
              <a:defRPr sz="1600"/>
            </a:lvl2pPr>
            <a:lvl3pPr>
              <a:defRPr sz="1600"/>
            </a:lvl3pPr>
            <a:lvl4pPr>
              <a:defRPr sz="1600"/>
            </a:lvl4pPr>
            <a:lvl5pPr>
              <a:defRPr sz="1600"/>
            </a:lvl5pPr>
            <a:lvl6pPr>
              <a:defRPr baseline="0"/>
            </a:lvl6pPr>
            <a:lvl7pPr>
              <a:defRPr baseline="0"/>
            </a:lvl7pPr>
            <a:lvl8pPr>
              <a:defRPr baseline="0"/>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0"/>
          <p:cNvSpPr>
            <a:spLocks noGrp="1"/>
          </p:cNvSpPr>
          <p:nvPr>
            <p:ph type="body" sz="quarter" idx="26"/>
          </p:nvPr>
        </p:nvSpPr>
        <p:spPr bwMode="gray">
          <a:xfrm>
            <a:off x="251521" y="843559"/>
            <a:ext cx="3312368" cy="288032"/>
          </a:xfrm>
          <a:solidFill>
            <a:srgbClr val="409DAD"/>
          </a:solidFill>
          <a:ln w="12700">
            <a:solidFill>
              <a:srgbClr val="409DAD"/>
            </a:solidFill>
          </a:ln>
        </p:spPr>
        <p:txBody>
          <a:bodyPr rtlCol="0" anchor="ctr" anchorCtr="1">
            <a:noAutofit/>
          </a:bodyPr>
          <a:lstStyle>
            <a:lvl1pPr>
              <a:defRPr lang="en-US" sz="1400" b="1" kern="1200" noProof="0" dirty="0" smtClean="0">
                <a:solidFill>
                  <a:schemeClr val="bg1"/>
                </a:solidFill>
                <a:latin typeface="Arial" pitchFamily="34" charset="0"/>
                <a:ea typeface="+mn-ea"/>
                <a:cs typeface="Arial" pitchFamily="34" charset="0"/>
              </a:defRPr>
            </a:lvl1pPr>
            <a:lvl5pPr>
              <a:defRPr/>
            </a:lvl5pPr>
            <a:lvl6pPr>
              <a:defRPr baseline="0"/>
            </a:lvl6pPr>
            <a:lvl7pPr>
              <a:defRPr baseline="0"/>
            </a:lvl7pPr>
            <a:lvl8pPr>
              <a:defRPr baseline="0"/>
            </a:lvl8pPr>
          </a:lstStyle>
          <a:p>
            <a:pPr lvl="0"/>
            <a:r>
              <a:rPr lang="en-US"/>
              <a:t>Click to edit Master text styles</a:t>
            </a:r>
          </a:p>
        </p:txBody>
      </p:sp>
      <p:sp>
        <p:nvSpPr>
          <p:cNvPr id="16" name="Text Placeholder 20"/>
          <p:cNvSpPr>
            <a:spLocks noGrp="1"/>
          </p:cNvSpPr>
          <p:nvPr>
            <p:ph type="body" sz="quarter" idx="33"/>
          </p:nvPr>
        </p:nvSpPr>
        <p:spPr bwMode="gray">
          <a:xfrm>
            <a:off x="251521" y="2787775"/>
            <a:ext cx="3312368" cy="288032"/>
          </a:xfrm>
          <a:solidFill>
            <a:srgbClr val="409DAD"/>
          </a:solidFill>
          <a:ln w="12700">
            <a:solidFill>
              <a:srgbClr val="409DAD"/>
            </a:solidFill>
          </a:ln>
        </p:spPr>
        <p:txBody>
          <a:bodyPr rtlCol="0" anchor="ctr" anchorCtr="1">
            <a:noAutofit/>
          </a:bodyPr>
          <a:lstStyle>
            <a:lvl1pPr>
              <a:defRPr lang="en-US" sz="1400" b="1" kern="1200" noProof="0" dirty="0" smtClean="0">
                <a:solidFill>
                  <a:schemeClr val="bg1"/>
                </a:solidFill>
                <a:latin typeface="Arial" pitchFamily="34" charset="0"/>
                <a:ea typeface="+mn-ea"/>
                <a:cs typeface="Arial" pitchFamily="34" charset="0"/>
              </a:defRPr>
            </a:lvl1pPr>
            <a:lvl5pPr>
              <a:defRPr/>
            </a:lvl5pPr>
            <a:lvl6pPr>
              <a:defRPr baseline="0"/>
            </a:lvl6pPr>
            <a:lvl7pPr>
              <a:defRPr baseline="0"/>
            </a:lvl7pPr>
            <a:lvl8pPr>
              <a:defRPr baseline="0"/>
            </a:lvl8pPr>
          </a:lstStyle>
          <a:p>
            <a:pPr lvl="0"/>
            <a:r>
              <a:rPr lang="en-US"/>
              <a:t>Click to edit Master text styles</a:t>
            </a:r>
          </a:p>
        </p:txBody>
      </p:sp>
      <p:sp>
        <p:nvSpPr>
          <p:cNvPr id="19" name="Text Placeholder 20"/>
          <p:cNvSpPr>
            <a:spLocks noGrp="1"/>
          </p:cNvSpPr>
          <p:nvPr>
            <p:ph type="body" sz="quarter" idx="36"/>
          </p:nvPr>
        </p:nvSpPr>
        <p:spPr bwMode="gray">
          <a:xfrm>
            <a:off x="251521" y="3147814"/>
            <a:ext cx="3312368" cy="1368152"/>
          </a:xfrm>
          <a:solidFill>
            <a:schemeClr val="bg1"/>
          </a:solidFill>
          <a:ln w="12700">
            <a:solidFill>
              <a:srgbClr val="007C92"/>
            </a:solidFill>
          </a:ln>
        </p:spPr>
        <p:txBody>
          <a:bodyPr lIns="40499" tIns="40499" rIns="40499" bIns="40499">
            <a:noAutofit/>
          </a:bodyPr>
          <a:lstStyle>
            <a:lvl1pPr>
              <a:defRPr sz="1600"/>
            </a:lvl1pPr>
            <a:lvl2pPr>
              <a:defRPr sz="1600"/>
            </a:lvl2pPr>
            <a:lvl3pPr>
              <a:defRPr sz="1600"/>
            </a:lvl3pPr>
            <a:lvl4pPr>
              <a:defRPr sz="1600"/>
            </a:lvl4pPr>
            <a:lvl5pPr>
              <a:defRPr sz="1600"/>
            </a:lvl5pPr>
            <a:lvl6pPr>
              <a:defRPr baseline="0"/>
            </a:lvl6pPr>
            <a:lvl7pPr>
              <a:defRPr baseline="0"/>
            </a:lvl7pPr>
            <a:lvl8pPr>
              <a:defRPr baseline="0"/>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0" name="Text Placeholder 20"/>
          <p:cNvSpPr>
            <a:spLocks noGrp="1"/>
          </p:cNvSpPr>
          <p:nvPr>
            <p:ph type="body" sz="quarter" idx="42"/>
          </p:nvPr>
        </p:nvSpPr>
        <p:spPr bwMode="gray">
          <a:xfrm>
            <a:off x="5652121" y="1203598"/>
            <a:ext cx="3312368" cy="1368152"/>
          </a:xfrm>
          <a:solidFill>
            <a:schemeClr val="bg1"/>
          </a:solidFill>
          <a:ln w="12700">
            <a:solidFill>
              <a:srgbClr val="007C92"/>
            </a:solidFill>
          </a:ln>
        </p:spPr>
        <p:txBody>
          <a:bodyPr lIns="40499" tIns="40499" rIns="40499" bIns="40499">
            <a:noAutofit/>
          </a:bodyPr>
          <a:lstStyle>
            <a:lvl1pPr>
              <a:defRPr sz="1600"/>
            </a:lvl1pPr>
            <a:lvl2pPr>
              <a:defRPr sz="1600"/>
            </a:lvl2pPr>
            <a:lvl3pPr>
              <a:defRPr sz="1600"/>
            </a:lvl3pPr>
            <a:lvl4pPr>
              <a:defRPr sz="1600"/>
            </a:lvl4pPr>
            <a:lvl5pPr>
              <a:defRPr sz="1600"/>
            </a:lvl5pPr>
            <a:lvl6pPr>
              <a:defRPr baseline="0"/>
            </a:lvl6pPr>
            <a:lvl7pPr>
              <a:defRPr baseline="0"/>
            </a:lvl7pPr>
            <a:lvl8pPr>
              <a:defRPr baseline="0"/>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1" name="Text Placeholder 20"/>
          <p:cNvSpPr>
            <a:spLocks noGrp="1"/>
          </p:cNvSpPr>
          <p:nvPr>
            <p:ph type="body" sz="quarter" idx="43"/>
          </p:nvPr>
        </p:nvSpPr>
        <p:spPr bwMode="gray">
          <a:xfrm>
            <a:off x="5652121" y="843559"/>
            <a:ext cx="3312368" cy="288032"/>
          </a:xfrm>
          <a:solidFill>
            <a:srgbClr val="409DAD"/>
          </a:solidFill>
          <a:ln w="12700">
            <a:solidFill>
              <a:srgbClr val="409DAD"/>
            </a:solidFill>
          </a:ln>
        </p:spPr>
        <p:txBody>
          <a:bodyPr rtlCol="0" anchor="ctr" anchorCtr="1">
            <a:noAutofit/>
          </a:bodyPr>
          <a:lstStyle>
            <a:lvl1pPr>
              <a:defRPr lang="en-US" sz="1400" b="1" kern="1200" noProof="0" dirty="0" smtClean="0">
                <a:solidFill>
                  <a:schemeClr val="bg1"/>
                </a:solidFill>
                <a:latin typeface="Arial" pitchFamily="34" charset="0"/>
                <a:ea typeface="+mn-ea"/>
                <a:cs typeface="Arial" pitchFamily="34" charset="0"/>
              </a:defRPr>
            </a:lvl1pPr>
            <a:lvl5pPr>
              <a:defRPr/>
            </a:lvl5pPr>
            <a:lvl6pPr>
              <a:defRPr baseline="0"/>
            </a:lvl6pPr>
            <a:lvl7pPr>
              <a:defRPr baseline="0"/>
            </a:lvl7pPr>
            <a:lvl8pPr>
              <a:defRPr baseline="0"/>
            </a:lvl8pPr>
          </a:lstStyle>
          <a:p>
            <a:pPr lvl="0"/>
            <a:r>
              <a:rPr lang="en-US"/>
              <a:t>Click to edit Master text styles</a:t>
            </a:r>
          </a:p>
        </p:txBody>
      </p:sp>
      <p:sp>
        <p:nvSpPr>
          <p:cNvPr id="32" name="Text Placeholder 20"/>
          <p:cNvSpPr>
            <a:spLocks noGrp="1"/>
          </p:cNvSpPr>
          <p:nvPr>
            <p:ph type="body" sz="quarter" idx="44"/>
          </p:nvPr>
        </p:nvSpPr>
        <p:spPr bwMode="gray">
          <a:xfrm>
            <a:off x="5652121" y="2787775"/>
            <a:ext cx="3312368" cy="288032"/>
          </a:xfrm>
          <a:solidFill>
            <a:srgbClr val="409DAD"/>
          </a:solidFill>
          <a:ln w="12700">
            <a:solidFill>
              <a:srgbClr val="409DAD"/>
            </a:solidFill>
          </a:ln>
        </p:spPr>
        <p:txBody>
          <a:bodyPr rtlCol="0" anchor="ctr" anchorCtr="1">
            <a:noAutofit/>
          </a:bodyPr>
          <a:lstStyle>
            <a:lvl1pPr>
              <a:defRPr lang="en-US" sz="1400" b="1" kern="1200" noProof="0" dirty="0" smtClean="0">
                <a:solidFill>
                  <a:schemeClr val="bg1"/>
                </a:solidFill>
                <a:latin typeface="Arial" pitchFamily="34" charset="0"/>
                <a:ea typeface="+mn-ea"/>
                <a:cs typeface="Arial" pitchFamily="34" charset="0"/>
              </a:defRPr>
            </a:lvl1pPr>
            <a:lvl5pPr>
              <a:defRPr/>
            </a:lvl5pPr>
            <a:lvl6pPr>
              <a:defRPr baseline="0"/>
            </a:lvl6pPr>
            <a:lvl7pPr>
              <a:defRPr baseline="0"/>
            </a:lvl7pPr>
            <a:lvl8pPr>
              <a:defRPr baseline="0"/>
            </a:lvl8pPr>
          </a:lstStyle>
          <a:p>
            <a:pPr lvl="0"/>
            <a:r>
              <a:rPr lang="en-US"/>
              <a:t>Click to edit Master text styles</a:t>
            </a:r>
          </a:p>
        </p:txBody>
      </p:sp>
      <p:sp>
        <p:nvSpPr>
          <p:cNvPr id="33" name="Text Placeholder 20"/>
          <p:cNvSpPr>
            <a:spLocks noGrp="1"/>
          </p:cNvSpPr>
          <p:nvPr>
            <p:ph type="body" sz="quarter" idx="45"/>
          </p:nvPr>
        </p:nvSpPr>
        <p:spPr bwMode="gray">
          <a:xfrm>
            <a:off x="5652121" y="3147814"/>
            <a:ext cx="3312368" cy="1368152"/>
          </a:xfrm>
          <a:solidFill>
            <a:schemeClr val="bg1"/>
          </a:solidFill>
          <a:ln w="12700">
            <a:solidFill>
              <a:srgbClr val="007C92"/>
            </a:solidFill>
          </a:ln>
        </p:spPr>
        <p:txBody>
          <a:bodyPr lIns="40499" tIns="40499" rIns="40499" bIns="40499">
            <a:noAutofit/>
          </a:bodyPr>
          <a:lstStyle>
            <a:lvl1pPr>
              <a:defRPr sz="1600"/>
            </a:lvl1pPr>
            <a:lvl2pPr>
              <a:defRPr sz="1600"/>
            </a:lvl2pPr>
            <a:lvl3pPr>
              <a:defRPr sz="1600"/>
            </a:lvl3pPr>
            <a:lvl4pPr>
              <a:defRPr sz="1600"/>
            </a:lvl4pPr>
            <a:lvl5pPr>
              <a:defRPr sz="1600"/>
            </a:lvl5pPr>
            <a:lvl6pPr>
              <a:defRPr baseline="0"/>
            </a:lvl6pPr>
            <a:lvl7pPr>
              <a:defRPr baseline="0"/>
            </a:lvl7pPr>
            <a:lvl8pPr>
              <a:defRPr baseline="0"/>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81828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Outline">
    <p:spTree>
      <p:nvGrpSpPr>
        <p:cNvPr id="1" name=""/>
        <p:cNvGrpSpPr/>
        <p:nvPr/>
      </p:nvGrpSpPr>
      <p:grpSpPr>
        <a:xfrm>
          <a:off x="0" y="0"/>
          <a:ext cx="0" cy="0"/>
          <a:chOff x="0" y="0"/>
          <a:chExt cx="0" cy="0"/>
        </a:xfrm>
      </p:grpSpPr>
      <p:sp>
        <p:nvSpPr>
          <p:cNvPr id="10" name="Title 9"/>
          <p:cNvSpPr>
            <a:spLocks noGrp="1"/>
          </p:cNvSpPr>
          <p:nvPr>
            <p:ph type="title"/>
          </p:nvPr>
        </p:nvSpPr>
        <p:spPr bwMode="gray"/>
        <p:txBody>
          <a:bodyPr>
            <a:noAutofit/>
          </a:bodyPr>
          <a:lstStyle/>
          <a:p>
            <a:r>
              <a:rPr lang="en-US"/>
              <a:t>Click to edit Master title style</a:t>
            </a:r>
            <a:endParaRPr lang="en-GB"/>
          </a:p>
        </p:txBody>
      </p:sp>
      <p:sp>
        <p:nvSpPr>
          <p:cNvPr id="21" name="Text Placeholder 20"/>
          <p:cNvSpPr>
            <a:spLocks noGrp="1"/>
          </p:cNvSpPr>
          <p:nvPr>
            <p:ph type="body" sz="quarter" idx="21"/>
          </p:nvPr>
        </p:nvSpPr>
        <p:spPr bwMode="gray">
          <a:xfrm>
            <a:off x="251520" y="1203598"/>
            <a:ext cx="4248472" cy="3312368"/>
          </a:xfrm>
          <a:solidFill>
            <a:schemeClr val="bg1"/>
          </a:solidFill>
          <a:ln w="12700">
            <a:solidFill>
              <a:srgbClr val="007C92"/>
            </a:solidFill>
          </a:ln>
        </p:spPr>
        <p:txBody>
          <a:bodyPr lIns="40499" tIns="40499" rIns="40499" bIns="40499">
            <a:noAutofit/>
          </a:bodyPr>
          <a:lstStyle>
            <a:lvl5pPr>
              <a:defRPr/>
            </a:lvl5pPr>
            <a:lvl6pPr>
              <a:defRPr baseline="0"/>
            </a:lvl6pPr>
            <a:lvl7pPr>
              <a:defRPr baseline="0"/>
            </a:lvl7pPr>
            <a:lvl8pPr>
              <a:defRPr baseline="0"/>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0"/>
          <p:cNvSpPr>
            <a:spLocks noGrp="1"/>
          </p:cNvSpPr>
          <p:nvPr>
            <p:ph type="body" sz="quarter" idx="26"/>
          </p:nvPr>
        </p:nvSpPr>
        <p:spPr bwMode="gray">
          <a:xfrm>
            <a:off x="251520" y="843559"/>
            <a:ext cx="4254012" cy="288032"/>
          </a:xfrm>
          <a:solidFill>
            <a:srgbClr val="409DAD"/>
          </a:solidFill>
          <a:ln w="12700">
            <a:solidFill>
              <a:srgbClr val="409DAD"/>
            </a:solidFill>
          </a:ln>
        </p:spPr>
        <p:txBody>
          <a:bodyPr rtlCol="0" anchor="ctr" anchorCtr="1">
            <a:noAutofit/>
          </a:bodyPr>
          <a:lstStyle>
            <a:lvl1pPr>
              <a:defRPr lang="en-US" sz="1400" b="1" kern="1200" noProof="0" dirty="0" smtClean="0">
                <a:solidFill>
                  <a:schemeClr val="bg1"/>
                </a:solidFill>
                <a:latin typeface="Arial" pitchFamily="34" charset="0"/>
                <a:ea typeface="+mn-ea"/>
                <a:cs typeface="Arial" pitchFamily="34" charset="0"/>
              </a:defRPr>
            </a:lvl1pPr>
            <a:lvl5pPr>
              <a:defRPr/>
            </a:lvl5pPr>
            <a:lvl6pPr>
              <a:defRPr baseline="0"/>
            </a:lvl6pPr>
            <a:lvl7pPr>
              <a:defRPr baseline="0"/>
            </a:lvl7pPr>
            <a:lvl8pPr>
              <a:defRPr baseline="0"/>
            </a:lvl8pPr>
          </a:lstStyle>
          <a:p>
            <a:pPr lvl="0"/>
            <a:r>
              <a:rPr lang="en-US"/>
              <a:t>Click to edit Master text styles</a:t>
            </a:r>
          </a:p>
        </p:txBody>
      </p:sp>
      <p:sp>
        <p:nvSpPr>
          <p:cNvPr id="7" name="Text Placeholder 20"/>
          <p:cNvSpPr>
            <a:spLocks noGrp="1"/>
          </p:cNvSpPr>
          <p:nvPr>
            <p:ph type="body" sz="quarter" idx="27"/>
          </p:nvPr>
        </p:nvSpPr>
        <p:spPr bwMode="gray">
          <a:xfrm>
            <a:off x="4716018" y="1203598"/>
            <a:ext cx="4248472" cy="3312368"/>
          </a:xfrm>
          <a:solidFill>
            <a:schemeClr val="bg1"/>
          </a:solidFill>
          <a:ln w="12700">
            <a:solidFill>
              <a:srgbClr val="007C92"/>
            </a:solidFill>
          </a:ln>
        </p:spPr>
        <p:txBody>
          <a:bodyPr lIns="40499" tIns="40499" rIns="40499" bIns="40499">
            <a:noAutofit/>
          </a:bodyPr>
          <a:lstStyle>
            <a:lvl5pPr>
              <a:defRPr/>
            </a:lvl5pPr>
            <a:lvl6pPr>
              <a:defRPr baseline="0"/>
            </a:lvl6pPr>
            <a:lvl7pPr>
              <a:defRPr baseline="0"/>
            </a:lvl7pPr>
            <a:lvl8pPr>
              <a:defRPr baseline="0"/>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0"/>
          <p:cNvSpPr>
            <a:spLocks noGrp="1"/>
          </p:cNvSpPr>
          <p:nvPr>
            <p:ph type="body" sz="quarter" idx="28"/>
          </p:nvPr>
        </p:nvSpPr>
        <p:spPr bwMode="gray">
          <a:xfrm>
            <a:off x="4716016" y="843559"/>
            <a:ext cx="4254012" cy="288032"/>
          </a:xfrm>
          <a:solidFill>
            <a:srgbClr val="409DAD"/>
          </a:solidFill>
          <a:ln w="12700">
            <a:solidFill>
              <a:srgbClr val="409DAD"/>
            </a:solidFill>
          </a:ln>
        </p:spPr>
        <p:txBody>
          <a:bodyPr rtlCol="0" anchor="ctr" anchorCtr="1">
            <a:noAutofit/>
          </a:bodyPr>
          <a:lstStyle>
            <a:lvl1pPr>
              <a:defRPr lang="en-US" sz="1400" b="1" kern="1200" noProof="0" dirty="0" smtClean="0">
                <a:solidFill>
                  <a:schemeClr val="bg1"/>
                </a:solidFill>
                <a:latin typeface="Arial" pitchFamily="34" charset="0"/>
                <a:ea typeface="+mn-ea"/>
                <a:cs typeface="Arial" pitchFamily="34" charset="0"/>
              </a:defRPr>
            </a:lvl1pPr>
            <a:lvl5pPr>
              <a:defRPr/>
            </a:lvl5pPr>
            <a:lvl6pPr>
              <a:defRPr baseline="0"/>
            </a:lvl6pPr>
            <a:lvl7pPr>
              <a:defRPr baseline="0"/>
            </a:lvl7pPr>
            <a:lvl8pPr>
              <a:defRPr baseline="0"/>
            </a:lvl8pPr>
          </a:lstStyle>
          <a:p>
            <a:pPr lvl="0"/>
            <a:r>
              <a:rPr lang="en-US"/>
              <a:t>Click to edit Master text styles</a:t>
            </a:r>
          </a:p>
        </p:txBody>
      </p:sp>
    </p:spTree>
    <p:extLst>
      <p:ext uri="{BB962C8B-B14F-4D97-AF65-F5344CB8AC3E}">
        <p14:creationId xmlns:p14="http://schemas.microsoft.com/office/powerpoint/2010/main" val="39782208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Outline 2">
    <p:spTree>
      <p:nvGrpSpPr>
        <p:cNvPr id="1" name=""/>
        <p:cNvGrpSpPr/>
        <p:nvPr/>
      </p:nvGrpSpPr>
      <p:grpSpPr>
        <a:xfrm>
          <a:off x="0" y="0"/>
          <a:ext cx="0" cy="0"/>
          <a:chOff x="0" y="0"/>
          <a:chExt cx="0" cy="0"/>
        </a:xfrm>
      </p:grpSpPr>
      <p:sp>
        <p:nvSpPr>
          <p:cNvPr id="10" name="Title 9"/>
          <p:cNvSpPr>
            <a:spLocks noGrp="1"/>
          </p:cNvSpPr>
          <p:nvPr>
            <p:ph type="title"/>
          </p:nvPr>
        </p:nvSpPr>
        <p:spPr bwMode="gray"/>
        <p:txBody>
          <a:bodyPr>
            <a:noAutofit/>
          </a:bodyPr>
          <a:lstStyle/>
          <a:p>
            <a:r>
              <a:rPr lang="en-US"/>
              <a:t>Click to edit Master title style</a:t>
            </a:r>
            <a:endParaRPr lang="en-GB"/>
          </a:p>
        </p:txBody>
      </p:sp>
      <p:sp>
        <p:nvSpPr>
          <p:cNvPr id="11" name="Text Placeholder 20"/>
          <p:cNvSpPr>
            <a:spLocks noGrp="1"/>
          </p:cNvSpPr>
          <p:nvPr>
            <p:ph type="body" sz="quarter" idx="21"/>
          </p:nvPr>
        </p:nvSpPr>
        <p:spPr bwMode="gray">
          <a:xfrm>
            <a:off x="251520" y="1203598"/>
            <a:ext cx="4248472" cy="1368152"/>
          </a:xfrm>
          <a:solidFill>
            <a:schemeClr val="bg1"/>
          </a:solidFill>
          <a:ln w="12700">
            <a:solidFill>
              <a:srgbClr val="007C92"/>
            </a:solidFill>
          </a:ln>
        </p:spPr>
        <p:txBody>
          <a:bodyPr lIns="40499" tIns="40499" rIns="40499" bIns="40499">
            <a:noAutofit/>
          </a:bodyPr>
          <a:lstStyle>
            <a:lvl5pPr>
              <a:defRPr/>
            </a:lvl5pPr>
            <a:lvl6pPr>
              <a:defRPr baseline="0"/>
            </a:lvl6pPr>
            <a:lvl7pPr>
              <a:defRPr baseline="0"/>
            </a:lvl7pPr>
            <a:lvl8pPr>
              <a:defRPr baseline="0"/>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0"/>
          <p:cNvSpPr>
            <a:spLocks noGrp="1"/>
          </p:cNvSpPr>
          <p:nvPr>
            <p:ph type="body" sz="quarter" idx="26"/>
          </p:nvPr>
        </p:nvSpPr>
        <p:spPr bwMode="gray">
          <a:xfrm>
            <a:off x="251520" y="843559"/>
            <a:ext cx="4254012" cy="288032"/>
          </a:xfrm>
          <a:solidFill>
            <a:srgbClr val="409DAD"/>
          </a:solidFill>
          <a:ln w="12700">
            <a:solidFill>
              <a:srgbClr val="409DAD"/>
            </a:solidFill>
          </a:ln>
        </p:spPr>
        <p:txBody>
          <a:bodyPr rtlCol="0" anchor="ctr" anchorCtr="1">
            <a:noAutofit/>
          </a:bodyPr>
          <a:lstStyle>
            <a:lvl1pPr>
              <a:defRPr lang="en-US" sz="1400" b="1" kern="1200" noProof="0" dirty="0" smtClean="0">
                <a:solidFill>
                  <a:schemeClr val="bg1"/>
                </a:solidFill>
                <a:latin typeface="Arial" pitchFamily="34" charset="0"/>
                <a:ea typeface="+mn-ea"/>
                <a:cs typeface="Arial" pitchFamily="34" charset="0"/>
              </a:defRPr>
            </a:lvl1pPr>
            <a:lvl5pPr>
              <a:defRPr/>
            </a:lvl5pPr>
            <a:lvl6pPr>
              <a:defRPr baseline="0"/>
            </a:lvl6pPr>
            <a:lvl7pPr>
              <a:defRPr baseline="0"/>
            </a:lvl7pPr>
            <a:lvl8pPr>
              <a:defRPr baseline="0"/>
            </a:lvl8pPr>
          </a:lstStyle>
          <a:p>
            <a:pPr lvl="0"/>
            <a:r>
              <a:rPr lang="en-US"/>
              <a:t>Click to edit Master text styles</a:t>
            </a:r>
          </a:p>
        </p:txBody>
      </p:sp>
      <p:sp>
        <p:nvSpPr>
          <p:cNvPr id="13" name="Text Placeholder 20"/>
          <p:cNvSpPr>
            <a:spLocks noGrp="1"/>
          </p:cNvSpPr>
          <p:nvPr>
            <p:ph type="body" sz="quarter" idx="30"/>
          </p:nvPr>
        </p:nvSpPr>
        <p:spPr bwMode="gray">
          <a:xfrm>
            <a:off x="4716018" y="1203598"/>
            <a:ext cx="4248472" cy="1368152"/>
          </a:xfrm>
          <a:solidFill>
            <a:schemeClr val="bg1"/>
          </a:solidFill>
          <a:ln w="12700">
            <a:solidFill>
              <a:srgbClr val="007C92"/>
            </a:solidFill>
          </a:ln>
        </p:spPr>
        <p:txBody>
          <a:bodyPr lIns="40499" tIns="40499" rIns="40499" bIns="40499">
            <a:noAutofit/>
          </a:bodyPr>
          <a:lstStyle>
            <a:lvl5pPr>
              <a:defRPr/>
            </a:lvl5pPr>
            <a:lvl6pPr>
              <a:defRPr baseline="0"/>
            </a:lvl6pPr>
            <a:lvl7pPr>
              <a:defRPr baseline="0"/>
            </a:lvl7pPr>
            <a:lvl8pPr>
              <a:defRPr baseline="0"/>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20"/>
          <p:cNvSpPr>
            <a:spLocks noGrp="1"/>
          </p:cNvSpPr>
          <p:nvPr>
            <p:ph type="body" sz="quarter" idx="31"/>
          </p:nvPr>
        </p:nvSpPr>
        <p:spPr bwMode="gray">
          <a:xfrm>
            <a:off x="4716016" y="843559"/>
            <a:ext cx="4254012" cy="288032"/>
          </a:xfrm>
          <a:solidFill>
            <a:srgbClr val="409DAD"/>
          </a:solidFill>
          <a:ln w="12700">
            <a:solidFill>
              <a:srgbClr val="409DAD"/>
            </a:solidFill>
          </a:ln>
        </p:spPr>
        <p:txBody>
          <a:bodyPr rtlCol="0" anchor="ctr" anchorCtr="1">
            <a:noAutofit/>
          </a:bodyPr>
          <a:lstStyle>
            <a:lvl1pPr>
              <a:defRPr lang="en-US" sz="1400" b="1" kern="1200" noProof="0" dirty="0" smtClean="0">
                <a:solidFill>
                  <a:schemeClr val="bg1"/>
                </a:solidFill>
                <a:latin typeface="Arial" pitchFamily="34" charset="0"/>
                <a:ea typeface="+mn-ea"/>
                <a:cs typeface="Arial" pitchFamily="34" charset="0"/>
              </a:defRPr>
            </a:lvl1pPr>
            <a:lvl5pPr>
              <a:defRPr/>
            </a:lvl5pPr>
            <a:lvl6pPr>
              <a:defRPr baseline="0"/>
            </a:lvl6pPr>
            <a:lvl7pPr>
              <a:defRPr baseline="0"/>
            </a:lvl7pPr>
            <a:lvl8pPr>
              <a:defRPr baseline="0"/>
            </a:lvl8pPr>
          </a:lstStyle>
          <a:p>
            <a:pPr lvl="0"/>
            <a:r>
              <a:rPr lang="en-US"/>
              <a:t>Click to edit Master text styles</a:t>
            </a:r>
          </a:p>
        </p:txBody>
      </p:sp>
      <p:sp>
        <p:nvSpPr>
          <p:cNvPr id="15" name="Text Placeholder 20"/>
          <p:cNvSpPr>
            <a:spLocks noGrp="1"/>
          </p:cNvSpPr>
          <p:nvPr>
            <p:ph type="body" sz="quarter" idx="32"/>
          </p:nvPr>
        </p:nvSpPr>
        <p:spPr bwMode="gray">
          <a:xfrm>
            <a:off x="251520" y="3147814"/>
            <a:ext cx="4248472" cy="1368152"/>
          </a:xfrm>
          <a:solidFill>
            <a:srgbClr val="BFDEE4"/>
          </a:solidFill>
          <a:ln w="12700">
            <a:solidFill>
              <a:srgbClr val="007C92"/>
            </a:solidFill>
          </a:ln>
        </p:spPr>
        <p:txBody>
          <a:bodyPr lIns="40499" tIns="40499" rIns="40499" bIns="40499">
            <a:noAutofit/>
          </a:bodyPr>
          <a:lstStyle>
            <a:lvl5pPr>
              <a:defRPr/>
            </a:lvl5pPr>
            <a:lvl6pPr>
              <a:defRPr baseline="0"/>
            </a:lvl6pPr>
            <a:lvl7pPr>
              <a:defRPr baseline="0"/>
            </a:lvl7pPr>
            <a:lvl8pPr>
              <a:defRPr baseline="0"/>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20"/>
          <p:cNvSpPr>
            <a:spLocks noGrp="1"/>
          </p:cNvSpPr>
          <p:nvPr>
            <p:ph type="body" sz="quarter" idx="33"/>
          </p:nvPr>
        </p:nvSpPr>
        <p:spPr bwMode="gray">
          <a:xfrm>
            <a:off x="251520" y="2787775"/>
            <a:ext cx="4254012" cy="288032"/>
          </a:xfrm>
          <a:solidFill>
            <a:srgbClr val="409DAD"/>
          </a:solidFill>
          <a:ln w="12700">
            <a:solidFill>
              <a:srgbClr val="409DAD"/>
            </a:solidFill>
          </a:ln>
        </p:spPr>
        <p:txBody>
          <a:bodyPr rtlCol="0" anchor="ctr" anchorCtr="1">
            <a:noAutofit/>
          </a:bodyPr>
          <a:lstStyle>
            <a:lvl1pPr>
              <a:defRPr lang="en-US" sz="1400" b="1" kern="1200" noProof="0" dirty="0" smtClean="0">
                <a:solidFill>
                  <a:schemeClr val="bg1"/>
                </a:solidFill>
                <a:latin typeface="Arial" pitchFamily="34" charset="0"/>
                <a:ea typeface="+mn-ea"/>
                <a:cs typeface="Arial" pitchFamily="34" charset="0"/>
              </a:defRPr>
            </a:lvl1pPr>
            <a:lvl5pPr>
              <a:defRPr/>
            </a:lvl5pPr>
            <a:lvl6pPr>
              <a:defRPr baseline="0"/>
            </a:lvl6pPr>
            <a:lvl7pPr>
              <a:defRPr baseline="0"/>
            </a:lvl7pPr>
            <a:lvl8pPr>
              <a:defRPr baseline="0"/>
            </a:lvl8pPr>
          </a:lstStyle>
          <a:p>
            <a:pPr lvl="0"/>
            <a:r>
              <a:rPr lang="en-US"/>
              <a:t>Click to edit Master text styles</a:t>
            </a:r>
          </a:p>
        </p:txBody>
      </p:sp>
      <p:sp>
        <p:nvSpPr>
          <p:cNvPr id="17" name="Text Placeholder 20"/>
          <p:cNvSpPr>
            <a:spLocks noGrp="1"/>
          </p:cNvSpPr>
          <p:nvPr>
            <p:ph type="body" sz="quarter" idx="34"/>
          </p:nvPr>
        </p:nvSpPr>
        <p:spPr bwMode="gray">
          <a:xfrm>
            <a:off x="4716018" y="3147814"/>
            <a:ext cx="4248472" cy="1368152"/>
          </a:xfrm>
          <a:solidFill>
            <a:srgbClr val="BFDEE4"/>
          </a:solidFill>
          <a:ln w="12700">
            <a:solidFill>
              <a:srgbClr val="007C92"/>
            </a:solidFill>
          </a:ln>
        </p:spPr>
        <p:txBody>
          <a:bodyPr lIns="40499" tIns="40499" rIns="40499" bIns="40499">
            <a:noAutofit/>
          </a:bodyPr>
          <a:lstStyle>
            <a:lvl5pPr>
              <a:defRPr/>
            </a:lvl5pPr>
            <a:lvl6pPr>
              <a:defRPr baseline="0"/>
            </a:lvl6pPr>
            <a:lvl7pPr>
              <a:defRPr baseline="0"/>
            </a:lvl7pPr>
            <a:lvl8pPr>
              <a:defRPr baseline="0"/>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20"/>
          <p:cNvSpPr>
            <a:spLocks noGrp="1"/>
          </p:cNvSpPr>
          <p:nvPr>
            <p:ph type="body" sz="quarter" idx="35"/>
          </p:nvPr>
        </p:nvSpPr>
        <p:spPr bwMode="gray">
          <a:xfrm>
            <a:off x="4716016" y="2787775"/>
            <a:ext cx="4254012" cy="288032"/>
          </a:xfrm>
          <a:solidFill>
            <a:srgbClr val="409DAD"/>
          </a:solidFill>
          <a:ln w="12700">
            <a:solidFill>
              <a:srgbClr val="409DAD"/>
            </a:solidFill>
          </a:ln>
        </p:spPr>
        <p:txBody>
          <a:bodyPr rtlCol="0" anchor="ctr" anchorCtr="1">
            <a:noAutofit/>
          </a:bodyPr>
          <a:lstStyle>
            <a:lvl1pPr>
              <a:defRPr lang="en-US" sz="1400" b="1" kern="1200" noProof="0" dirty="0" smtClean="0">
                <a:solidFill>
                  <a:schemeClr val="bg1"/>
                </a:solidFill>
                <a:latin typeface="Arial" pitchFamily="34" charset="0"/>
                <a:ea typeface="+mn-ea"/>
                <a:cs typeface="Arial" pitchFamily="34" charset="0"/>
              </a:defRPr>
            </a:lvl1pPr>
            <a:lvl5pPr>
              <a:defRPr/>
            </a:lvl5pPr>
            <a:lvl6pPr>
              <a:defRPr baseline="0"/>
            </a:lvl6pPr>
            <a:lvl7pPr>
              <a:defRPr baseline="0"/>
            </a:lvl7pPr>
            <a:lvl8pPr>
              <a:defRPr baseline="0"/>
            </a:lvl8pPr>
          </a:lstStyle>
          <a:p>
            <a:pPr lvl="0"/>
            <a:r>
              <a:rPr lang="en-US"/>
              <a:t>Click to edit Master text styles</a:t>
            </a:r>
          </a:p>
        </p:txBody>
      </p:sp>
    </p:spTree>
    <p:extLst>
      <p:ext uri="{BB962C8B-B14F-4D97-AF65-F5344CB8AC3E}">
        <p14:creationId xmlns:p14="http://schemas.microsoft.com/office/powerpoint/2010/main" val="29934391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mpany profile">
    <p:spTree>
      <p:nvGrpSpPr>
        <p:cNvPr id="1" name=""/>
        <p:cNvGrpSpPr/>
        <p:nvPr/>
      </p:nvGrpSpPr>
      <p:grpSpPr>
        <a:xfrm>
          <a:off x="0" y="0"/>
          <a:ext cx="0" cy="0"/>
          <a:chOff x="0" y="0"/>
          <a:chExt cx="0" cy="0"/>
        </a:xfrm>
      </p:grpSpPr>
      <p:sp>
        <p:nvSpPr>
          <p:cNvPr id="10" name="Title 9"/>
          <p:cNvSpPr>
            <a:spLocks noGrp="1"/>
          </p:cNvSpPr>
          <p:nvPr>
            <p:ph type="title"/>
          </p:nvPr>
        </p:nvSpPr>
        <p:spPr bwMode="gray"/>
        <p:txBody>
          <a:bodyPr>
            <a:noAutofit/>
          </a:bodyPr>
          <a:lstStyle/>
          <a:p>
            <a:r>
              <a:rPr lang="en-US"/>
              <a:t>Click to edit Master title style</a:t>
            </a:r>
            <a:endParaRPr lang="en-GB"/>
          </a:p>
        </p:txBody>
      </p:sp>
      <p:sp>
        <p:nvSpPr>
          <p:cNvPr id="13" name="Table Placeholder 12"/>
          <p:cNvSpPr>
            <a:spLocks noGrp="1"/>
          </p:cNvSpPr>
          <p:nvPr>
            <p:ph type="tbl" sz="quarter" idx="14"/>
          </p:nvPr>
        </p:nvSpPr>
        <p:spPr bwMode="gray">
          <a:xfrm>
            <a:off x="251520" y="843559"/>
            <a:ext cx="2808312" cy="1728192"/>
          </a:xfrm>
        </p:spPr>
        <p:txBody>
          <a:bodyPr rtlCol="0">
            <a:noAutofit/>
          </a:bodyPr>
          <a:lstStyle/>
          <a:p>
            <a:pPr lvl="0"/>
            <a:r>
              <a:rPr lang="en-US" noProof="0"/>
              <a:t>Click icon to add table</a:t>
            </a:r>
            <a:endParaRPr lang="en-GB" noProof="0" dirty="0"/>
          </a:p>
        </p:txBody>
      </p:sp>
      <p:sp>
        <p:nvSpPr>
          <p:cNvPr id="18" name="Text Placeholder 17"/>
          <p:cNvSpPr>
            <a:spLocks noGrp="1"/>
          </p:cNvSpPr>
          <p:nvPr>
            <p:ph type="body" sz="quarter" idx="16"/>
          </p:nvPr>
        </p:nvSpPr>
        <p:spPr bwMode="gray">
          <a:xfrm>
            <a:off x="251520" y="2787774"/>
            <a:ext cx="2808312" cy="1728192"/>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able Placeholder 12"/>
          <p:cNvSpPr>
            <a:spLocks noGrp="1"/>
          </p:cNvSpPr>
          <p:nvPr>
            <p:ph type="tbl" sz="quarter" idx="21"/>
          </p:nvPr>
        </p:nvSpPr>
        <p:spPr bwMode="gray">
          <a:xfrm>
            <a:off x="3203848" y="843559"/>
            <a:ext cx="2808312" cy="1728192"/>
          </a:xfrm>
        </p:spPr>
        <p:txBody>
          <a:bodyPr rtlCol="0">
            <a:noAutofit/>
          </a:bodyPr>
          <a:lstStyle/>
          <a:p>
            <a:pPr lvl="0"/>
            <a:r>
              <a:rPr lang="en-US" noProof="0"/>
              <a:t>Click icon to add table</a:t>
            </a:r>
            <a:endParaRPr lang="en-GB" noProof="0" dirty="0"/>
          </a:p>
        </p:txBody>
      </p:sp>
      <p:sp>
        <p:nvSpPr>
          <p:cNvPr id="21" name="Table Placeholder 12"/>
          <p:cNvSpPr>
            <a:spLocks noGrp="1"/>
          </p:cNvSpPr>
          <p:nvPr>
            <p:ph type="tbl" sz="quarter" idx="22"/>
          </p:nvPr>
        </p:nvSpPr>
        <p:spPr bwMode="gray">
          <a:xfrm>
            <a:off x="6156176" y="843559"/>
            <a:ext cx="2808312" cy="1728192"/>
          </a:xfrm>
        </p:spPr>
        <p:txBody>
          <a:bodyPr rtlCol="0">
            <a:noAutofit/>
          </a:bodyPr>
          <a:lstStyle/>
          <a:p>
            <a:pPr lvl="0"/>
            <a:r>
              <a:rPr lang="en-US" noProof="0"/>
              <a:t>Click icon to add table</a:t>
            </a:r>
            <a:endParaRPr lang="en-GB" noProof="0" dirty="0"/>
          </a:p>
        </p:txBody>
      </p:sp>
      <p:sp>
        <p:nvSpPr>
          <p:cNvPr id="22" name="Text Placeholder 17"/>
          <p:cNvSpPr>
            <a:spLocks noGrp="1"/>
          </p:cNvSpPr>
          <p:nvPr>
            <p:ph type="body" sz="quarter" idx="23"/>
          </p:nvPr>
        </p:nvSpPr>
        <p:spPr bwMode="gray">
          <a:xfrm>
            <a:off x="3203848" y="2787774"/>
            <a:ext cx="2808312" cy="1728192"/>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17"/>
          <p:cNvSpPr>
            <a:spLocks noGrp="1"/>
          </p:cNvSpPr>
          <p:nvPr>
            <p:ph type="body" sz="quarter" idx="24"/>
          </p:nvPr>
        </p:nvSpPr>
        <p:spPr bwMode="gray">
          <a:xfrm>
            <a:off x="6156176" y="2787774"/>
            <a:ext cx="2808312" cy="1728192"/>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1701029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pSp>
        <p:nvGrpSpPr>
          <p:cNvPr id="22" name="Group 21"/>
          <p:cNvGrpSpPr/>
          <p:nvPr userDrawn="1"/>
        </p:nvGrpSpPr>
        <p:grpSpPr>
          <a:xfrm>
            <a:off x="0" y="0"/>
            <a:ext cx="9144000" cy="5143500"/>
            <a:chOff x="0" y="0"/>
            <a:chExt cx="9144000" cy="5143500"/>
          </a:xfrm>
        </p:grpSpPr>
        <p:grpSp>
          <p:nvGrpSpPr>
            <p:cNvPr id="4" name="Group 45"/>
            <p:cNvGrpSpPr>
              <a:grpSpLocks/>
            </p:cNvGrpSpPr>
            <p:nvPr userDrawn="1"/>
          </p:nvGrpSpPr>
          <p:grpSpPr bwMode="auto">
            <a:xfrm>
              <a:off x="2344738" y="0"/>
              <a:ext cx="6799262" cy="5143500"/>
              <a:chOff x="1477" y="0"/>
              <a:chExt cx="4283" cy="3241"/>
            </a:xfrm>
          </p:grpSpPr>
          <p:sp>
            <p:nvSpPr>
              <p:cNvPr id="5" name="Freeform 40"/>
              <p:cNvSpPr>
                <a:spLocks/>
              </p:cNvSpPr>
              <p:nvPr userDrawn="1"/>
            </p:nvSpPr>
            <p:spPr bwMode="gray">
              <a:xfrm>
                <a:off x="1477" y="0"/>
                <a:ext cx="2240" cy="1108"/>
              </a:xfrm>
              <a:custGeom>
                <a:avLst/>
                <a:gdLst/>
                <a:ahLst/>
                <a:cxnLst>
                  <a:cxn ang="0">
                    <a:pos x="1912" y="1108"/>
                  </a:cxn>
                  <a:cxn ang="0">
                    <a:pos x="2240" y="0"/>
                  </a:cxn>
                  <a:cxn ang="0">
                    <a:pos x="328" y="0"/>
                  </a:cxn>
                  <a:cxn ang="0">
                    <a:pos x="0" y="1108"/>
                  </a:cxn>
                  <a:cxn ang="0">
                    <a:pos x="1912" y="1108"/>
                  </a:cxn>
                </a:cxnLst>
                <a:rect l="0" t="0" r="r" b="b"/>
                <a:pathLst>
                  <a:path w="2240" h="1108">
                    <a:moveTo>
                      <a:pt x="1912" y="1108"/>
                    </a:moveTo>
                    <a:lnTo>
                      <a:pt x="2240" y="0"/>
                    </a:lnTo>
                    <a:lnTo>
                      <a:pt x="328" y="0"/>
                    </a:lnTo>
                    <a:lnTo>
                      <a:pt x="0" y="1108"/>
                    </a:lnTo>
                    <a:lnTo>
                      <a:pt x="1912" y="1108"/>
                    </a:lnTo>
                    <a:close/>
                  </a:path>
                </a:pathLst>
              </a:custGeom>
              <a:gradFill rotWithShape="1">
                <a:gsLst>
                  <a:gs pos="0">
                    <a:srgbClr val="00257A">
                      <a:alpha val="89999"/>
                    </a:srgbClr>
                  </a:gs>
                  <a:gs pos="35001">
                    <a:srgbClr val="00338D">
                      <a:alpha val="89999"/>
                    </a:srgbClr>
                  </a:gs>
                  <a:gs pos="100000">
                    <a:srgbClr val="009FDA">
                      <a:alpha val="89999"/>
                    </a:srgbClr>
                  </a:gs>
                </a:gsLst>
                <a:lin ang="0" scaled="1"/>
              </a:gradFill>
              <a:ln w="9525" cap="flat" cmpd="sng">
                <a:noFill/>
                <a:prstDash val="solid"/>
                <a:round/>
                <a:headEnd type="none" w="med" len="med"/>
                <a:tailEnd type="none" w="med" len="med"/>
              </a:ln>
              <a:effectLst/>
            </p:spPr>
            <p:txBody>
              <a:bodyPr>
                <a:noAutofit/>
              </a:bodyPr>
              <a:lstStyle/>
              <a:p>
                <a:pPr algn="ctr" defTabSz="685783"/>
                <a:endParaRPr lang="en-GB">
                  <a:solidFill>
                    <a:srgbClr val="000000"/>
                  </a:solidFill>
                  <a:cs typeface="Arial" charset="0"/>
                </a:endParaRPr>
              </a:p>
            </p:txBody>
          </p:sp>
          <p:sp>
            <p:nvSpPr>
              <p:cNvPr id="6" name="Freeform 41"/>
              <p:cNvSpPr>
                <a:spLocks/>
              </p:cNvSpPr>
              <p:nvPr userDrawn="1"/>
            </p:nvSpPr>
            <p:spPr bwMode="gray">
              <a:xfrm>
                <a:off x="2349" y="524"/>
                <a:ext cx="3411" cy="2717"/>
              </a:xfrm>
              <a:custGeom>
                <a:avLst/>
                <a:gdLst/>
                <a:ahLst/>
                <a:cxnLst>
                  <a:cxn ang="0">
                    <a:pos x="0" y="2717"/>
                  </a:cxn>
                  <a:cxn ang="0">
                    <a:pos x="2605" y="2717"/>
                  </a:cxn>
                  <a:cxn ang="0">
                    <a:pos x="3411" y="0"/>
                  </a:cxn>
                  <a:cxn ang="0">
                    <a:pos x="804" y="0"/>
                  </a:cxn>
                  <a:cxn ang="0">
                    <a:pos x="0" y="2717"/>
                  </a:cxn>
                </a:cxnLst>
                <a:rect l="0" t="0" r="r" b="b"/>
                <a:pathLst>
                  <a:path w="3411" h="2717">
                    <a:moveTo>
                      <a:pt x="0" y="2717"/>
                    </a:moveTo>
                    <a:lnTo>
                      <a:pt x="2605" y="2717"/>
                    </a:lnTo>
                    <a:lnTo>
                      <a:pt x="3411" y="0"/>
                    </a:lnTo>
                    <a:lnTo>
                      <a:pt x="804" y="0"/>
                    </a:lnTo>
                    <a:lnTo>
                      <a:pt x="0" y="2717"/>
                    </a:lnTo>
                    <a:close/>
                  </a:path>
                </a:pathLst>
              </a:custGeom>
              <a:gradFill rotWithShape="1">
                <a:gsLst>
                  <a:gs pos="0">
                    <a:srgbClr val="00257A">
                      <a:alpha val="89999"/>
                    </a:srgbClr>
                  </a:gs>
                  <a:gs pos="35001">
                    <a:srgbClr val="00338D">
                      <a:alpha val="89999"/>
                    </a:srgbClr>
                  </a:gs>
                  <a:gs pos="100000">
                    <a:srgbClr val="009FDA">
                      <a:alpha val="89999"/>
                    </a:srgbClr>
                  </a:gs>
                </a:gsLst>
                <a:lin ang="0" scaled="1"/>
              </a:gradFill>
              <a:ln w="9525" cap="flat" cmpd="sng">
                <a:noFill/>
                <a:prstDash val="solid"/>
                <a:round/>
                <a:headEnd type="none" w="med" len="med"/>
                <a:tailEnd type="none" w="med" len="med"/>
              </a:ln>
              <a:effectLst/>
            </p:spPr>
            <p:txBody>
              <a:bodyPr>
                <a:noAutofit/>
              </a:bodyPr>
              <a:lstStyle/>
              <a:p>
                <a:pPr algn="ctr" defTabSz="685783"/>
                <a:endParaRPr lang="en-GB">
                  <a:solidFill>
                    <a:srgbClr val="000000"/>
                  </a:solidFill>
                  <a:cs typeface="Arial" charset="0"/>
                </a:endParaRPr>
              </a:p>
            </p:txBody>
          </p:sp>
          <p:sp>
            <p:nvSpPr>
              <p:cNvPr id="7" name="Freeform 42"/>
              <p:cNvSpPr>
                <a:spLocks/>
              </p:cNvSpPr>
              <p:nvPr userDrawn="1"/>
            </p:nvSpPr>
            <p:spPr bwMode="gray">
              <a:xfrm>
                <a:off x="2979" y="528"/>
                <a:ext cx="580" cy="580"/>
              </a:xfrm>
              <a:custGeom>
                <a:avLst/>
                <a:gdLst/>
                <a:ahLst/>
                <a:cxnLst>
                  <a:cxn ang="0">
                    <a:pos x="580" y="0"/>
                  </a:cxn>
                  <a:cxn ang="0">
                    <a:pos x="172" y="0"/>
                  </a:cxn>
                  <a:cxn ang="0">
                    <a:pos x="0" y="580"/>
                  </a:cxn>
                  <a:cxn ang="0">
                    <a:pos x="408" y="580"/>
                  </a:cxn>
                  <a:cxn ang="0">
                    <a:pos x="580" y="0"/>
                  </a:cxn>
                </a:cxnLst>
                <a:rect l="0" t="0" r="r" b="b"/>
                <a:pathLst>
                  <a:path w="580" h="580">
                    <a:moveTo>
                      <a:pt x="580" y="0"/>
                    </a:moveTo>
                    <a:lnTo>
                      <a:pt x="172" y="0"/>
                    </a:lnTo>
                    <a:lnTo>
                      <a:pt x="0" y="580"/>
                    </a:lnTo>
                    <a:lnTo>
                      <a:pt x="408" y="580"/>
                    </a:lnTo>
                    <a:lnTo>
                      <a:pt x="580" y="0"/>
                    </a:lnTo>
                    <a:close/>
                  </a:path>
                </a:pathLst>
              </a:custGeom>
              <a:solidFill>
                <a:srgbClr val="00257A"/>
              </a:solidFill>
              <a:ln w="9525" cap="flat" cmpd="sng">
                <a:noFill/>
                <a:prstDash val="solid"/>
                <a:round/>
                <a:headEnd type="none" w="med" len="med"/>
                <a:tailEnd type="none" w="med" len="med"/>
              </a:ln>
              <a:effectLst/>
            </p:spPr>
            <p:txBody>
              <a:bodyPr>
                <a:noAutofit/>
              </a:bodyPr>
              <a:lstStyle/>
              <a:p>
                <a:pPr algn="ctr" defTabSz="685783"/>
                <a:endParaRPr lang="en-GB">
                  <a:solidFill>
                    <a:srgbClr val="000000"/>
                  </a:solidFill>
                  <a:cs typeface="Arial" charset="0"/>
                </a:endParaRPr>
              </a:p>
            </p:txBody>
          </p:sp>
        </p:grpSp>
        <p:sp>
          <p:nvSpPr>
            <p:cNvPr id="9" name="Freeform 33"/>
            <p:cNvSpPr>
              <a:spLocks/>
            </p:cNvSpPr>
            <p:nvPr userDrawn="1"/>
          </p:nvSpPr>
          <p:spPr bwMode="gray">
            <a:xfrm>
              <a:off x="0" y="1752059"/>
              <a:ext cx="2344738" cy="3391441"/>
            </a:xfrm>
            <a:custGeom>
              <a:avLst/>
              <a:gdLst/>
              <a:ahLst/>
              <a:cxnLst>
                <a:cxn ang="0">
                  <a:pos x="0" y="0"/>
                </a:cxn>
                <a:cxn ang="0">
                  <a:pos x="0" y="2137"/>
                </a:cxn>
                <a:cxn ang="0">
                  <a:pos x="844" y="2137"/>
                </a:cxn>
                <a:cxn ang="0">
                  <a:pos x="1477" y="0"/>
                </a:cxn>
                <a:cxn ang="0">
                  <a:pos x="0" y="0"/>
                </a:cxn>
              </a:cxnLst>
              <a:rect l="0" t="0" r="r" b="b"/>
              <a:pathLst>
                <a:path w="1477" h="2137">
                  <a:moveTo>
                    <a:pt x="0" y="0"/>
                  </a:moveTo>
                  <a:lnTo>
                    <a:pt x="0" y="2137"/>
                  </a:lnTo>
                  <a:lnTo>
                    <a:pt x="844" y="2137"/>
                  </a:lnTo>
                  <a:lnTo>
                    <a:pt x="1477" y="0"/>
                  </a:lnTo>
                  <a:lnTo>
                    <a:pt x="0" y="0"/>
                  </a:lnTo>
                  <a:close/>
                </a:path>
              </a:pathLst>
            </a:custGeom>
            <a:solidFill>
              <a:srgbClr val="E5EAF3"/>
            </a:solidFill>
            <a:ln w="9525" cap="flat" cmpd="sng">
              <a:noFill/>
              <a:prstDash val="solid"/>
              <a:round/>
              <a:headEnd type="none" w="med" len="med"/>
              <a:tailEnd type="none" w="med" len="med"/>
            </a:ln>
            <a:effectLst/>
          </p:spPr>
          <p:txBody>
            <a:bodyPr>
              <a:noAutofit/>
            </a:bodyPr>
            <a:lstStyle/>
            <a:p>
              <a:pPr algn="ctr" defTabSz="685783"/>
              <a:endParaRPr lang="en-GB">
                <a:solidFill>
                  <a:srgbClr val="000000"/>
                </a:solidFill>
                <a:cs typeface="Arial" charset="0"/>
              </a:endParaRPr>
            </a:p>
          </p:txBody>
        </p:sp>
        <p:sp>
          <p:nvSpPr>
            <p:cNvPr id="10" name="Freeform 34"/>
            <p:cNvSpPr>
              <a:spLocks/>
            </p:cNvSpPr>
            <p:nvPr userDrawn="1"/>
          </p:nvSpPr>
          <p:spPr bwMode="gray">
            <a:xfrm>
              <a:off x="1" y="1"/>
              <a:ext cx="4100513" cy="4219860"/>
            </a:xfrm>
            <a:custGeom>
              <a:avLst/>
              <a:gdLst/>
              <a:ahLst/>
              <a:cxnLst>
                <a:cxn ang="0">
                  <a:pos x="2583" y="0"/>
                </a:cxn>
                <a:cxn ang="0">
                  <a:pos x="672" y="0"/>
                </a:cxn>
                <a:cxn ang="0">
                  <a:pos x="0" y="2269"/>
                </a:cxn>
                <a:cxn ang="0">
                  <a:pos x="0" y="2659"/>
                </a:cxn>
                <a:cxn ang="0">
                  <a:pos x="1795" y="2659"/>
                </a:cxn>
                <a:cxn ang="0">
                  <a:pos x="2583" y="0"/>
                </a:cxn>
              </a:cxnLst>
              <a:rect l="0" t="0" r="r" b="b"/>
              <a:pathLst>
                <a:path w="2583" h="2659">
                  <a:moveTo>
                    <a:pt x="2583" y="0"/>
                  </a:moveTo>
                  <a:lnTo>
                    <a:pt x="672" y="0"/>
                  </a:lnTo>
                  <a:lnTo>
                    <a:pt x="0" y="2269"/>
                  </a:lnTo>
                  <a:lnTo>
                    <a:pt x="0" y="2659"/>
                  </a:lnTo>
                  <a:lnTo>
                    <a:pt x="1795" y="2659"/>
                  </a:lnTo>
                  <a:lnTo>
                    <a:pt x="2583" y="0"/>
                  </a:lnTo>
                  <a:close/>
                </a:path>
              </a:pathLst>
            </a:custGeom>
            <a:solidFill>
              <a:srgbClr val="BFCCE3"/>
            </a:solidFill>
            <a:ln w="9525" cap="flat" cmpd="sng">
              <a:noFill/>
              <a:prstDash val="solid"/>
              <a:round/>
              <a:headEnd type="none" w="med" len="med"/>
              <a:tailEnd type="none" w="med" len="med"/>
            </a:ln>
            <a:effectLst/>
          </p:spPr>
          <p:txBody>
            <a:bodyPr>
              <a:noAutofit/>
            </a:bodyPr>
            <a:lstStyle/>
            <a:p>
              <a:pPr algn="ctr" defTabSz="685783"/>
              <a:endParaRPr lang="en-GB">
                <a:solidFill>
                  <a:srgbClr val="000000"/>
                </a:solidFill>
                <a:cs typeface="Arial" charset="0"/>
              </a:endParaRPr>
            </a:p>
          </p:txBody>
        </p:sp>
        <p:sp>
          <p:nvSpPr>
            <p:cNvPr id="11" name="Freeform 35"/>
            <p:cNvSpPr>
              <a:spLocks/>
            </p:cNvSpPr>
            <p:nvPr userDrawn="1"/>
          </p:nvSpPr>
          <p:spPr bwMode="gray">
            <a:xfrm>
              <a:off x="0" y="1758408"/>
              <a:ext cx="2344738" cy="2461453"/>
            </a:xfrm>
            <a:custGeom>
              <a:avLst/>
              <a:gdLst/>
              <a:ahLst/>
              <a:cxnLst>
                <a:cxn ang="0">
                  <a:pos x="1477" y="0"/>
                </a:cxn>
                <a:cxn ang="0">
                  <a:pos x="344" y="0"/>
                </a:cxn>
                <a:cxn ang="0">
                  <a:pos x="0" y="1161"/>
                </a:cxn>
                <a:cxn ang="0">
                  <a:pos x="0" y="1551"/>
                </a:cxn>
                <a:cxn ang="0">
                  <a:pos x="1016" y="1551"/>
                </a:cxn>
                <a:cxn ang="0">
                  <a:pos x="1477" y="0"/>
                </a:cxn>
              </a:cxnLst>
              <a:rect l="0" t="0" r="r" b="b"/>
              <a:pathLst>
                <a:path w="1477" h="1551">
                  <a:moveTo>
                    <a:pt x="1477" y="0"/>
                  </a:moveTo>
                  <a:lnTo>
                    <a:pt x="344" y="0"/>
                  </a:lnTo>
                  <a:lnTo>
                    <a:pt x="0" y="1161"/>
                  </a:lnTo>
                  <a:lnTo>
                    <a:pt x="0" y="1551"/>
                  </a:lnTo>
                  <a:lnTo>
                    <a:pt x="1016" y="1551"/>
                  </a:lnTo>
                  <a:lnTo>
                    <a:pt x="1477" y="0"/>
                  </a:lnTo>
                  <a:close/>
                </a:path>
              </a:pathLst>
            </a:custGeom>
            <a:solidFill>
              <a:srgbClr val="8099C6"/>
            </a:solidFill>
            <a:ln w="9525" cap="flat" cmpd="sng">
              <a:noFill/>
              <a:prstDash val="solid"/>
              <a:round/>
              <a:headEnd type="none" w="med" len="med"/>
              <a:tailEnd type="none" w="med" len="med"/>
            </a:ln>
            <a:effectLst/>
          </p:spPr>
          <p:txBody>
            <a:bodyPr>
              <a:noAutofit/>
            </a:bodyPr>
            <a:lstStyle/>
            <a:p>
              <a:pPr algn="ctr" defTabSz="685783"/>
              <a:endParaRPr lang="en-GB">
                <a:solidFill>
                  <a:srgbClr val="000000"/>
                </a:solidFill>
                <a:cs typeface="Arial" charset="0"/>
              </a:endParaRPr>
            </a:p>
          </p:txBody>
        </p:sp>
        <p:sp>
          <p:nvSpPr>
            <p:cNvPr id="13" name="Freeform 36"/>
            <p:cNvSpPr>
              <a:spLocks/>
            </p:cNvSpPr>
            <p:nvPr userDrawn="1"/>
          </p:nvSpPr>
          <p:spPr bwMode="gray">
            <a:xfrm>
              <a:off x="7537451" y="4588046"/>
              <a:ext cx="1603375" cy="555454"/>
            </a:xfrm>
            <a:custGeom>
              <a:avLst/>
              <a:gdLst/>
              <a:ahLst/>
              <a:cxnLst>
                <a:cxn ang="0">
                  <a:pos x="0" y="350"/>
                </a:cxn>
                <a:cxn ang="0">
                  <a:pos x="906" y="350"/>
                </a:cxn>
                <a:cxn ang="0">
                  <a:pos x="1010" y="0"/>
                </a:cxn>
                <a:cxn ang="0">
                  <a:pos x="104" y="0"/>
                </a:cxn>
                <a:cxn ang="0">
                  <a:pos x="0" y="350"/>
                </a:cxn>
              </a:cxnLst>
              <a:rect l="0" t="0" r="r" b="b"/>
              <a:pathLst>
                <a:path w="1010" h="350">
                  <a:moveTo>
                    <a:pt x="0" y="350"/>
                  </a:moveTo>
                  <a:lnTo>
                    <a:pt x="906" y="350"/>
                  </a:lnTo>
                  <a:lnTo>
                    <a:pt x="1010" y="0"/>
                  </a:lnTo>
                  <a:lnTo>
                    <a:pt x="104" y="0"/>
                  </a:lnTo>
                  <a:lnTo>
                    <a:pt x="0" y="350"/>
                  </a:lnTo>
                  <a:close/>
                </a:path>
              </a:pathLst>
            </a:custGeom>
            <a:solidFill>
              <a:srgbClr val="00B0F0"/>
            </a:solidFill>
            <a:ln w="9525" cap="flat" cmpd="sng">
              <a:noFill/>
              <a:prstDash val="solid"/>
              <a:round/>
              <a:headEnd type="none" w="med" len="med"/>
              <a:tailEnd type="none" w="med" len="med"/>
            </a:ln>
            <a:effectLst/>
          </p:spPr>
          <p:txBody>
            <a:bodyPr>
              <a:noAutofit/>
            </a:bodyPr>
            <a:lstStyle/>
            <a:p>
              <a:pPr algn="ctr" defTabSz="685783"/>
              <a:endParaRPr lang="en-GB">
                <a:solidFill>
                  <a:srgbClr val="000000"/>
                </a:solidFill>
                <a:cs typeface="Arial" charset="0"/>
              </a:endParaRPr>
            </a:p>
          </p:txBody>
        </p:sp>
        <p:sp>
          <p:nvSpPr>
            <p:cNvPr id="14" name="Freeform 37"/>
            <p:cNvSpPr>
              <a:spLocks/>
            </p:cNvSpPr>
            <p:nvPr userDrawn="1"/>
          </p:nvSpPr>
          <p:spPr bwMode="gray">
            <a:xfrm>
              <a:off x="2104182" y="3559664"/>
              <a:ext cx="1897063" cy="1583836"/>
            </a:xfrm>
            <a:custGeom>
              <a:avLst/>
              <a:gdLst/>
              <a:ahLst/>
              <a:cxnLst>
                <a:cxn ang="0">
                  <a:pos x="0" y="998"/>
                </a:cxn>
                <a:cxn ang="0">
                  <a:pos x="897" y="998"/>
                </a:cxn>
                <a:cxn ang="0">
                  <a:pos x="1195" y="0"/>
                </a:cxn>
                <a:cxn ang="0">
                  <a:pos x="295" y="0"/>
                </a:cxn>
                <a:cxn ang="0">
                  <a:pos x="0" y="998"/>
                </a:cxn>
              </a:cxnLst>
              <a:rect l="0" t="0" r="r" b="b"/>
              <a:pathLst>
                <a:path w="1195" h="998">
                  <a:moveTo>
                    <a:pt x="0" y="998"/>
                  </a:moveTo>
                  <a:lnTo>
                    <a:pt x="897" y="998"/>
                  </a:lnTo>
                  <a:lnTo>
                    <a:pt x="1195" y="0"/>
                  </a:lnTo>
                  <a:lnTo>
                    <a:pt x="295" y="0"/>
                  </a:lnTo>
                  <a:lnTo>
                    <a:pt x="0" y="998"/>
                  </a:lnTo>
                  <a:close/>
                </a:path>
              </a:pathLst>
            </a:custGeom>
            <a:solidFill>
              <a:srgbClr val="8099C6"/>
            </a:solidFill>
            <a:ln w="9525" cap="flat" cmpd="sng">
              <a:noFill/>
              <a:prstDash val="solid"/>
              <a:round/>
              <a:headEnd type="none" w="med" len="med"/>
              <a:tailEnd type="none" w="med" len="med"/>
            </a:ln>
            <a:effectLst/>
          </p:spPr>
          <p:txBody>
            <a:bodyPr>
              <a:noAutofit/>
            </a:bodyPr>
            <a:lstStyle/>
            <a:p>
              <a:pPr algn="ctr" defTabSz="685783"/>
              <a:endParaRPr lang="en-GB">
                <a:solidFill>
                  <a:srgbClr val="000000"/>
                </a:solidFill>
                <a:cs typeface="Arial" charset="0"/>
              </a:endParaRPr>
            </a:p>
          </p:txBody>
        </p:sp>
        <p:sp>
          <p:nvSpPr>
            <p:cNvPr id="15" name="Freeform 38"/>
            <p:cNvSpPr>
              <a:spLocks/>
            </p:cNvSpPr>
            <p:nvPr userDrawn="1"/>
          </p:nvSpPr>
          <p:spPr bwMode="auto">
            <a:xfrm>
              <a:off x="7537451" y="4588046"/>
              <a:ext cx="492125" cy="555454"/>
            </a:xfrm>
            <a:custGeom>
              <a:avLst/>
              <a:gdLst/>
              <a:ahLst/>
              <a:cxnLst>
                <a:cxn ang="0">
                  <a:pos x="0" y="350"/>
                </a:cxn>
                <a:cxn ang="0">
                  <a:pos x="206" y="350"/>
                </a:cxn>
                <a:cxn ang="0">
                  <a:pos x="310" y="0"/>
                </a:cxn>
                <a:cxn ang="0">
                  <a:pos x="104" y="0"/>
                </a:cxn>
                <a:cxn ang="0">
                  <a:pos x="0" y="350"/>
                </a:cxn>
              </a:cxnLst>
              <a:rect l="0" t="0" r="r" b="b"/>
              <a:pathLst>
                <a:path w="310" h="350">
                  <a:moveTo>
                    <a:pt x="0" y="350"/>
                  </a:moveTo>
                  <a:lnTo>
                    <a:pt x="206" y="350"/>
                  </a:lnTo>
                  <a:lnTo>
                    <a:pt x="310" y="0"/>
                  </a:lnTo>
                  <a:lnTo>
                    <a:pt x="104" y="0"/>
                  </a:lnTo>
                  <a:lnTo>
                    <a:pt x="0" y="350"/>
                  </a:lnTo>
                  <a:close/>
                </a:path>
              </a:pathLst>
            </a:custGeom>
            <a:solidFill>
              <a:srgbClr val="243E86"/>
            </a:solidFill>
            <a:ln w="9525">
              <a:noFill/>
              <a:round/>
              <a:headEnd/>
              <a:tailEnd/>
            </a:ln>
          </p:spPr>
          <p:txBody>
            <a:bodyPr>
              <a:noAutofit/>
            </a:bodyPr>
            <a:lstStyle/>
            <a:p>
              <a:pPr algn="ctr" defTabSz="685783"/>
              <a:endParaRPr lang="en-GB">
                <a:solidFill>
                  <a:srgbClr val="000000"/>
                </a:solidFill>
                <a:cs typeface="Arial" charset="0"/>
              </a:endParaRPr>
            </a:p>
          </p:txBody>
        </p:sp>
        <p:sp>
          <p:nvSpPr>
            <p:cNvPr id="16" name="Freeform 39"/>
            <p:cNvSpPr>
              <a:spLocks/>
            </p:cNvSpPr>
            <p:nvPr userDrawn="1"/>
          </p:nvSpPr>
          <p:spPr bwMode="auto">
            <a:xfrm>
              <a:off x="4729163" y="837941"/>
              <a:ext cx="920750" cy="920466"/>
            </a:xfrm>
            <a:custGeom>
              <a:avLst/>
              <a:gdLst/>
              <a:ahLst/>
              <a:cxnLst>
                <a:cxn ang="0">
                  <a:pos x="0" y="580"/>
                </a:cxn>
                <a:cxn ang="0">
                  <a:pos x="408" y="580"/>
                </a:cxn>
                <a:cxn ang="0">
                  <a:pos x="580" y="0"/>
                </a:cxn>
                <a:cxn ang="0">
                  <a:pos x="172" y="0"/>
                </a:cxn>
                <a:cxn ang="0">
                  <a:pos x="0" y="580"/>
                </a:cxn>
              </a:cxnLst>
              <a:rect l="0" t="0" r="r" b="b"/>
              <a:pathLst>
                <a:path w="580" h="580">
                  <a:moveTo>
                    <a:pt x="0" y="580"/>
                  </a:moveTo>
                  <a:lnTo>
                    <a:pt x="408" y="580"/>
                  </a:lnTo>
                  <a:lnTo>
                    <a:pt x="580" y="0"/>
                  </a:lnTo>
                  <a:lnTo>
                    <a:pt x="172" y="0"/>
                  </a:lnTo>
                  <a:lnTo>
                    <a:pt x="0" y="580"/>
                  </a:lnTo>
                  <a:close/>
                </a:path>
              </a:pathLst>
            </a:custGeom>
            <a:solidFill>
              <a:srgbClr val="263473"/>
            </a:solidFill>
            <a:ln w="9525">
              <a:noFill/>
              <a:round/>
              <a:headEnd/>
              <a:tailEnd/>
            </a:ln>
          </p:spPr>
          <p:txBody>
            <a:bodyPr>
              <a:noAutofit/>
            </a:bodyPr>
            <a:lstStyle/>
            <a:p>
              <a:pPr algn="ctr" defTabSz="685783"/>
              <a:endParaRPr lang="en-GB">
                <a:solidFill>
                  <a:srgbClr val="000000"/>
                </a:solidFill>
                <a:cs typeface="Arial" charset="0"/>
              </a:endParaRPr>
            </a:p>
          </p:txBody>
        </p:sp>
        <p:sp>
          <p:nvSpPr>
            <p:cNvPr id="17" name="Freeform 43"/>
            <p:cNvSpPr>
              <a:spLocks/>
            </p:cNvSpPr>
            <p:nvPr userDrawn="1"/>
          </p:nvSpPr>
          <p:spPr bwMode="gray">
            <a:xfrm>
              <a:off x="2378398" y="3559664"/>
              <a:ext cx="666750" cy="663370"/>
            </a:xfrm>
            <a:custGeom>
              <a:avLst/>
              <a:gdLst/>
              <a:ahLst/>
              <a:cxnLst>
                <a:cxn ang="0">
                  <a:pos x="0" y="418"/>
                </a:cxn>
                <a:cxn ang="0">
                  <a:pos x="294" y="418"/>
                </a:cxn>
                <a:cxn ang="0">
                  <a:pos x="420" y="0"/>
                </a:cxn>
                <a:cxn ang="0">
                  <a:pos x="124" y="0"/>
                </a:cxn>
                <a:cxn ang="0">
                  <a:pos x="0" y="418"/>
                </a:cxn>
              </a:cxnLst>
              <a:rect l="0" t="0" r="r" b="b"/>
              <a:pathLst>
                <a:path w="420" h="418">
                  <a:moveTo>
                    <a:pt x="0" y="418"/>
                  </a:moveTo>
                  <a:lnTo>
                    <a:pt x="294" y="418"/>
                  </a:lnTo>
                  <a:lnTo>
                    <a:pt x="420" y="0"/>
                  </a:lnTo>
                  <a:lnTo>
                    <a:pt x="124" y="0"/>
                  </a:lnTo>
                  <a:lnTo>
                    <a:pt x="0" y="418"/>
                  </a:lnTo>
                  <a:close/>
                </a:path>
              </a:pathLst>
            </a:custGeom>
            <a:solidFill>
              <a:srgbClr val="4066AA"/>
            </a:solidFill>
            <a:ln w="9525" cap="flat" cmpd="sng">
              <a:noFill/>
              <a:prstDash val="solid"/>
              <a:round/>
              <a:headEnd type="none" w="med" len="med"/>
              <a:tailEnd type="none" w="med" len="med"/>
            </a:ln>
            <a:effectLst/>
          </p:spPr>
          <p:txBody>
            <a:bodyPr>
              <a:noAutofit/>
            </a:bodyPr>
            <a:lstStyle/>
            <a:p>
              <a:pPr algn="ctr" defTabSz="685783"/>
              <a:endParaRPr lang="en-GB">
                <a:solidFill>
                  <a:srgbClr val="000000"/>
                </a:solidFill>
                <a:cs typeface="Arial" charset="0"/>
              </a:endParaRPr>
            </a:p>
          </p:txBody>
        </p:sp>
        <p:sp>
          <p:nvSpPr>
            <p:cNvPr id="18" name="Freeform 44"/>
            <p:cNvSpPr>
              <a:spLocks/>
            </p:cNvSpPr>
            <p:nvPr userDrawn="1"/>
          </p:nvSpPr>
          <p:spPr bwMode="gray">
            <a:xfrm>
              <a:off x="2344738" y="0"/>
              <a:ext cx="1758950" cy="1758407"/>
            </a:xfrm>
            <a:custGeom>
              <a:avLst/>
              <a:gdLst/>
              <a:ahLst/>
              <a:cxnLst>
                <a:cxn ang="0">
                  <a:pos x="780" y="1108"/>
                </a:cxn>
                <a:cxn ang="0">
                  <a:pos x="1108" y="0"/>
                </a:cxn>
                <a:cxn ang="0">
                  <a:pos x="326" y="0"/>
                </a:cxn>
                <a:cxn ang="0">
                  <a:pos x="0" y="1108"/>
                </a:cxn>
                <a:cxn ang="0">
                  <a:pos x="780" y="1108"/>
                </a:cxn>
              </a:cxnLst>
              <a:rect l="0" t="0" r="r" b="b"/>
              <a:pathLst>
                <a:path w="1108" h="1108">
                  <a:moveTo>
                    <a:pt x="780" y="1108"/>
                  </a:moveTo>
                  <a:lnTo>
                    <a:pt x="1108" y="0"/>
                  </a:lnTo>
                  <a:lnTo>
                    <a:pt x="326" y="0"/>
                  </a:lnTo>
                  <a:lnTo>
                    <a:pt x="0" y="1108"/>
                  </a:lnTo>
                  <a:lnTo>
                    <a:pt x="780" y="1108"/>
                  </a:lnTo>
                  <a:close/>
                </a:path>
              </a:pathLst>
            </a:custGeom>
            <a:solidFill>
              <a:srgbClr val="4066AA"/>
            </a:solidFill>
            <a:ln w="9525" cap="flat" cmpd="sng">
              <a:noFill/>
              <a:prstDash val="solid"/>
              <a:round/>
              <a:headEnd type="none" w="med" len="med"/>
              <a:tailEnd type="none" w="med" len="med"/>
            </a:ln>
            <a:effectLst/>
          </p:spPr>
          <p:txBody>
            <a:bodyPr>
              <a:noAutofit/>
            </a:bodyPr>
            <a:lstStyle/>
            <a:p>
              <a:pPr algn="ctr" defTabSz="685783"/>
              <a:endParaRPr lang="en-GB">
                <a:solidFill>
                  <a:srgbClr val="000000"/>
                </a:solidFill>
                <a:cs typeface="Arial" charset="0"/>
              </a:endParaRPr>
            </a:p>
          </p:txBody>
        </p:sp>
      </p:grpSp>
      <p:sp>
        <p:nvSpPr>
          <p:cNvPr id="8" name="Title 7"/>
          <p:cNvSpPr>
            <a:spLocks noGrp="1"/>
          </p:cNvSpPr>
          <p:nvPr userDrawn="1">
            <p:ph type="title"/>
          </p:nvPr>
        </p:nvSpPr>
        <p:spPr bwMode="gray">
          <a:xfrm>
            <a:off x="4932042" y="2067697"/>
            <a:ext cx="3384376" cy="1368152"/>
          </a:xfrm>
          <a:noFill/>
          <a:ln w="9525">
            <a:noFill/>
            <a:miter lim="800000"/>
            <a:headEnd/>
            <a:tailEnd/>
          </a:ln>
        </p:spPr>
        <p:txBody>
          <a:bodyPr anchor="t">
            <a:noAutofit/>
          </a:bodyPr>
          <a:lstStyle>
            <a:lvl1pPr>
              <a:defRPr lang="en-GB" sz="3000" b="1" kern="1200" noProof="0" smtClean="0">
                <a:solidFill>
                  <a:schemeClr val="bg1"/>
                </a:solidFill>
                <a:latin typeface="Arial" pitchFamily="34" charset="0"/>
                <a:ea typeface="+mj-ea"/>
                <a:cs typeface="Arial" pitchFamily="34" charset="0"/>
              </a:defRPr>
            </a:lvl1pPr>
            <a:lvl2pPr>
              <a:defRPr lang="en-GB" sz="3000" b="1" kern="1200" noProof="0" dirty="0">
                <a:solidFill>
                  <a:schemeClr val="bg1"/>
                </a:solidFill>
                <a:latin typeface="Arial" pitchFamily="34" charset="0"/>
                <a:ea typeface="+mj-ea"/>
                <a:cs typeface="Arial" pitchFamily="34" charset="0"/>
              </a:defRPr>
            </a:lvl2pPr>
            <a:lvl3pPr>
              <a:defRPr lang="en-GB" sz="3000" b="1" kern="1200" noProof="0" dirty="0">
                <a:solidFill>
                  <a:schemeClr val="bg1"/>
                </a:solidFill>
                <a:latin typeface="Arial" pitchFamily="34" charset="0"/>
                <a:ea typeface="+mj-ea"/>
                <a:cs typeface="Arial" pitchFamily="34" charset="0"/>
              </a:defRPr>
            </a:lvl3pPr>
            <a:lvl4pPr>
              <a:defRPr lang="en-GB" sz="3000" b="1" kern="1200" noProof="0" dirty="0">
                <a:solidFill>
                  <a:schemeClr val="bg1"/>
                </a:solidFill>
                <a:latin typeface="Arial" pitchFamily="34" charset="0"/>
                <a:ea typeface="+mj-ea"/>
                <a:cs typeface="Arial" pitchFamily="34" charset="0"/>
              </a:defRPr>
            </a:lvl4pPr>
            <a:lvl5pPr>
              <a:defRPr lang="en-GB" sz="3000" b="1" kern="1200" noProof="0" dirty="0">
                <a:solidFill>
                  <a:schemeClr val="bg1"/>
                </a:solidFill>
                <a:latin typeface="Arial" pitchFamily="34" charset="0"/>
                <a:ea typeface="+mj-ea"/>
                <a:cs typeface="Arial" pitchFamily="34" charset="0"/>
              </a:defRPr>
            </a:lvl5pPr>
            <a:lvl6pPr>
              <a:defRPr lang="en-GB" sz="3000" b="1" kern="1200" noProof="0" dirty="0">
                <a:solidFill>
                  <a:schemeClr val="bg1"/>
                </a:solidFill>
                <a:latin typeface="Arial" pitchFamily="34" charset="0"/>
                <a:ea typeface="+mj-ea"/>
                <a:cs typeface="Arial" pitchFamily="34" charset="0"/>
              </a:defRPr>
            </a:lvl6pPr>
            <a:lvl7pPr>
              <a:defRPr lang="en-GB" sz="3000" b="1" kern="1200" noProof="0" dirty="0">
                <a:solidFill>
                  <a:schemeClr val="bg1"/>
                </a:solidFill>
                <a:latin typeface="Arial" pitchFamily="34" charset="0"/>
                <a:ea typeface="+mj-ea"/>
                <a:cs typeface="Arial" pitchFamily="34" charset="0"/>
              </a:defRPr>
            </a:lvl7pPr>
            <a:lvl8pPr>
              <a:defRPr lang="en-GB" sz="3000" b="1" kern="1200" noProof="0" dirty="0">
                <a:solidFill>
                  <a:schemeClr val="bg1"/>
                </a:solidFill>
                <a:latin typeface="Arial" pitchFamily="34" charset="0"/>
                <a:ea typeface="+mj-ea"/>
                <a:cs typeface="Arial" pitchFamily="34" charset="0"/>
              </a:defRPr>
            </a:lvl8pPr>
            <a:lvl9pPr>
              <a:defRPr lang="en-GB" sz="3000" b="1" kern="1200" noProof="0" dirty="0">
                <a:solidFill>
                  <a:schemeClr val="bg1"/>
                </a:solidFill>
                <a:latin typeface="Arial" pitchFamily="34" charset="0"/>
                <a:ea typeface="+mj-ea"/>
                <a:cs typeface="Arial" pitchFamily="34" charset="0"/>
              </a:defRPr>
            </a:lvl9pPr>
          </a:lstStyle>
          <a:p>
            <a:pPr lvl="0"/>
            <a:r>
              <a:rPr lang="en-US"/>
              <a:t>Click to edit Master title style</a:t>
            </a:r>
            <a:endParaRPr lang="en-GB" dirty="0"/>
          </a:p>
        </p:txBody>
      </p:sp>
      <p:sp>
        <p:nvSpPr>
          <p:cNvPr id="12" name="Text Placeholder 11"/>
          <p:cNvSpPr>
            <a:spLocks noGrp="1"/>
          </p:cNvSpPr>
          <p:nvPr userDrawn="1">
            <p:ph type="body" sz="quarter" idx="10"/>
          </p:nvPr>
        </p:nvSpPr>
        <p:spPr bwMode="gray">
          <a:xfrm>
            <a:off x="4932365" y="3651871"/>
            <a:ext cx="3096021" cy="864096"/>
          </a:xfrm>
          <a:noFill/>
          <a:ln w="9525">
            <a:noFill/>
            <a:miter lim="800000"/>
            <a:headEnd/>
            <a:tailEnd/>
          </a:ln>
        </p:spPr>
        <p:txBody>
          <a:bodyPr rtlCol="0">
            <a:noAutofit/>
          </a:bodyPr>
          <a:lstStyle>
            <a:lvl1pPr>
              <a:defRPr lang="en-US" sz="1200" b="0" kern="1200" noProof="0" dirty="0" smtClean="0">
                <a:solidFill>
                  <a:schemeClr val="bg1"/>
                </a:solidFill>
                <a:latin typeface="Arial" pitchFamily="34" charset="0"/>
                <a:ea typeface="+mn-ea"/>
                <a:cs typeface="Arial" pitchFamily="34" charset="0"/>
              </a:defRPr>
            </a:lvl1pPr>
            <a:lvl2pPr>
              <a:defRPr lang="en-US" sz="1200" b="0" kern="1200" noProof="0" dirty="0" smtClean="0">
                <a:solidFill>
                  <a:schemeClr val="bg1"/>
                </a:solidFill>
                <a:latin typeface="Arial" pitchFamily="34" charset="0"/>
                <a:ea typeface="+mn-ea"/>
                <a:cs typeface="Arial" pitchFamily="34" charset="0"/>
              </a:defRPr>
            </a:lvl2pPr>
            <a:lvl3pPr>
              <a:defRPr lang="en-US" sz="1200" b="0" kern="1200" noProof="0" dirty="0" smtClean="0">
                <a:solidFill>
                  <a:schemeClr val="bg1"/>
                </a:solidFill>
                <a:latin typeface="Arial" pitchFamily="34" charset="0"/>
                <a:ea typeface="+mn-ea"/>
                <a:cs typeface="Arial" pitchFamily="34" charset="0"/>
              </a:defRPr>
            </a:lvl3pPr>
            <a:lvl4pPr>
              <a:defRPr lang="en-US" sz="1200" b="0" kern="1200" noProof="0" dirty="0" smtClean="0">
                <a:solidFill>
                  <a:schemeClr val="bg1"/>
                </a:solidFill>
                <a:latin typeface="Arial" pitchFamily="34" charset="0"/>
                <a:ea typeface="+mn-ea"/>
                <a:cs typeface="Arial" pitchFamily="34" charset="0"/>
              </a:defRPr>
            </a:lvl4pPr>
            <a:lvl5pPr>
              <a:defRPr lang="en-US" sz="1200" b="0" kern="1200" noProof="0" dirty="0" smtClean="0">
                <a:solidFill>
                  <a:schemeClr val="bg1"/>
                </a:solidFill>
                <a:latin typeface="Arial" pitchFamily="34" charset="0"/>
                <a:ea typeface="+mn-ea"/>
                <a:cs typeface="Arial" pitchFamily="34" charset="0"/>
              </a:defRPr>
            </a:lvl5pPr>
            <a:lvl6pPr>
              <a:defRPr lang="en-US" sz="1200" b="0" kern="1200" noProof="0" dirty="0" smtClean="0">
                <a:solidFill>
                  <a:schemeClr val="bg1"/>
                </a:solidFill>
                <a:latin typeface="Arial" pitchFamily="34" charset="0"/>
                <a:ea typeface="+mn-ea"/>
                <a:cs typeface="Arial" pitchFamily="34" charset="0"/>
              </a:defRPr>
            </a:lvl6pPr>
            <a:lvl7pPr>
              <a:defRPr lang="en-US" sz="1200" b="0" kern="1200" noProof="0" dirty="0" smtClean="0">
                <a:solidFill>
                  <a:schemeClr val="bg1"/>
                </a:solidFill>
                <a:latin typeface="Arial" pitchFamily="34" charset="0"/>
                <a:ea typeface="+mn-ea"/>
                <a:cs typeface="Arial" pitchFamily="34" charset="0"/>
              </a:defRPr>
            </a:lvl7pPr>
            <a:lvl8pPr>
              <a:defRPr lang="en-US" sz="1200" b="0" kern="1200" noProof="0" dirty="0" smtClean="0">
                <a:solidFill>
                  <a:schemeClr val="bg1"/>
                </a:solidFill>
                <a:latin typeface="Arial" pitchFamily="34" charset="0"/>
                <a:ea typeface="+mn-ea"/>
                <a:cs typeface="Arial" pitchFamily="34" charset="0"/>
              </a:defRPr>
            </a:lvl8pPr>
            <a:lvl9pPr>
              <a:defRPr lang="en-US" sz="1200" b="0" kern="1200" noProof="0" dirty="0" smtClean="0">
                <a:solidFill>
                  <a:schemeClr val="bg1"/>
                </a:solidFill>
                <a:latin typeface="Arial" pitchFamily="34" charset="0"/>
                <a:ea typeface="+mn-ea"/>
                <a:cs typeface="Arial" pitchFamily="34" charset="0"/>
              </a:defRPr>
            </a:lvl9pPr>
          </a:lstStyle>
          <a:p>
            <a:pPr lvl="0"/>
            <a:r>
              <a:rPr lang="en-US"/>
              <a:t>Click to edit Master text styles</a:t>
            </a:r>
          </a:p>
        </p:txBody>
      </p:sp>
    </p:spTree>
    <p:extLst>
      <p:ext uri="{BB962C8B-B14F-4D97-AF65-F5344CB8AC3E}">
        <p14:creationId xmlns:p14="http://schemas.microsoft.com/office/powerpoint/2010/main" val="303768653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sp>
        <p:nvSpPr>
          <p:cNvPr id="1041" name="Freeform 17"/>
          <p:cNvSpPr>
            <a:spLocks/>
          </p:cNvSpPr>
          <p:nvPr userDrawn="1"/>
        </p:nvSpPr>
        <p:spPr bwMode="auto">
          <a:xfrm>
            <a:off x="2" y="-1588"/>
            <a:ext cx="6540633" cy="5145086"/>
          </a:xfrm>
          <a:custGeom>
            <a:avLst/>
            <a:gdLst/>
            <a:ahLst/>
            <a:cxnLst>
              <a:cxn ang="0">
                <a:pos x="0" y="0"/>
              </a:cxn>
              <a:cxn ang="0">
                <a:pos x="0" y="3237"/>
              </a:cxn>
              <a:cxn ang="0">
                <a:pos x="3155" y="3237"/>
              </a:cxn>
              <a:cxn ang="0">
                <a:pos x="4115" y="0"/>
              </a:cxn>
              <a:cxn ang="0">
                <a:pos x="0" y="0"/>
              </a:cxn>
            </a:cxnLst>
            <a:rect l="0" t="0" r="r" b="b"/>
            <a:pathLst>
              <a:path w="4115" h="3237">
                <a:moveTo>
                  <a:pt x="0" y="0"/>
                </a:moveTo>
                <a:lnTo>
                  <a:pt x="0" y="3237"/>
                </a:lnTo>
                <a:lnTo>
                  <a:pt x="3155" y="3237"/>
                </a:lnTo>
                <a:lnTo>
                  <a:pt x="4115" y="0"/>
                </a:lnTo>
                <a:lnTo>
                  <a:pt x="0" y="0"/>
                </a:lnTo>
                <a:close/>
              </a:path>
            </a:pathLst>
          </a:custGeom>
          <a:gradFill rotWithShape="1">
            <a:gsLst>
              <a:gs pos="0">
                <a:srgbClr val="00257A">
                  <a:alpha val="89999"/>
                </a:srgbClr>
              </a:gs>
              <a:gs pos="35001">
                <a:srgbClr val="00338D">
                  <a:alpha val="89999"/>
                </a:srgbClr>
              </a:gs>
              <a:gs pos="100000">
                <a:srgbClr val="009FDA">
                  <a:alpha val="89999"/>
                </a:srgbClr>
              </a:gs>
            </a:gsLst>
            <a:lin ang="0" scaled="1"/>
          </a:gradFill>
          <a:ln w="9525" cap="flat" cmpd="sng">
            <a:noFill/>
            <a:prstDash val="solid"/>
            <a:round/>
            <a:headEnd type="none" w="med" len="med"/>
            <a:tailEnd type="none" w="med" len="med"/>
          </a:ln>
          <a:effectLst/>
        </p:spPr>
        <p:txBody>
          <a:bodyPr lIns="68579" tIns="34289" rIns="68579" bIns="34289">
            <a:noAutofit/>
          </a:bodyPr>
          <a:lstStyle/>
          <a:p>
            <a:pPr algn="ctr" defTabSz="685783"/>
            <a:endParaRPr lang="en-GB">
              <a:solidFill>
                <a:srgbClr val="000000"/>
              </a:solidFill>
              <a:cs typeface="Arial" charset="0"/>
            </a:endParaRPr>
          </a:p>
        </p:txBody>
      </p:sp>
      <p:sp>
        <p:nvSpPr>
          <p:cNvPr id="8" name="Title 7"/>
          <p:cNvSpPr>
            <a:spLocks noGrp="1"/>
          </p:cNvSpPr>
          <p:nvPr>
            <p:ph type="title"/>
          </p:nvPr>
        </p:nvSpPr>
        <p:spPr bwMode="gray">
          <a:xfrm>
            <a:off x="323528" y="987574"/>
            <a:ext cx="5400600" cy="1584176"/>
          </a:xfrm>
          <a:noFill/>
          <a:ln w="9525">
            <a:noFill/>
            <a:miter lim="800000"/>
            <a:headEnd/>
            <a:tailEnd/>
          </a:ln>
        </p:spPr>
        <p:txBody>
          <a:bodyPr anchor="b" anchorCtr="0">
            <a:noAutofit/>
          </a:bodyPr>
          <a:lstStyle>
            <a:lvl1pPr>
              <a:defRPr lang="en-GB" sz="3000" b="1" kern="1200" noProof="0" smtClean="0">
                <a:solidFill>
                  <a:schemeClr val="bg1"/>
                </a:solidFill>
                <a:latin typeface="Arial" pitchFamily="34" charset="0"/>
                <a:ea typeface="+mj-ea"/>
                <a:cs typeface="Arial" pitchFamily="34" charset="0"/>
              </a:defRPr>
            </a:lvl1pPr>
            <a:lvl2pPr>
              <a:defRPr lang="en-GB" sz="3000" b="1" kern="1200" noProof="0" dirty="0">
                <a:solidFill>
                  <a:schemeClr val="bg1"/>
                </a:solidFill>
                <a:latin typeface="Arial" pitchFamily="34" charset="0"/>
                <a:ea typeface="+mj-ea"/>
                <a:cs typeface="Arial" pitchFamily="34" charset="0"/>
              </a:defRPr>
            </a:lvl2pPr>
            <a:lvl3pPr>
              <a:defRPr lang="en-GB" sz="3000" b="1" kern="1200" noProof="0" dirty="0">
                <a:solidFill>
                  <a:schemeClr val="bg1"/>
                </a:solidFill>
                <a:latin typeface="Arial" pitchFamily="34" charset="0"/>
                <a:ea typeface="+mj-ea"/>
                <a:cs typeface="Arial" pitchFamily="34" charset="0"/>
              </a:defRPr>
            </a:lvl3pPr>
            <a:lvl4pPr>
              <a:defRPr lang="en-GB" sz="3000" b="1" kern="1200" noProof="0" dirty="0">
                <a:solidFill>
                  <a:schemeClr val="bg1"/>
                </a:solidFill>
                <a:latin typeface="Arial" pitchFamily="34" charset="0"/>
                <a:ea typeface="+mj-ea"/>
                <a:cs typeface="Arial" pitchFamily="34" charset="0"/>
              </a:defRPr>
            </a:lvl4pPr>
            <a:lvl5pPr>
              <a:defRPr lang="en-GB" sz="3000" b="1" kern="1200" noProof="0" dirty="0">
                <a:solidFill>
                  <a:schemeClr val="bg1"/>
                </a:solidFill>
                <a:latin typeface="Arial" pitchFamily="34" charset="0"/>
                <a:ea typeface="+mj-ea"/>
                <a:cs typeface="Arial" pitchFamily="34" charset="0"/>
              </a:defRPr>
            </a:lvl5pPr>
            <a:lvl6pPr>
              <a:defRPr lang="en-GB" sz="3000" b="1" kern="1200" noProof="0" dirty="0">
                <a:solidFill>
                  <a:schemeClr val="bg1"/>
                </a:solidFill>
                <a:latin typeface="Arial" pitchFamily="34" charset="0"/>
                <a:ea typeface="+mj-ea"/>
                <a:cs typeface="Arial" pitchFamily="34" charset="0"/>
              </a:defRPr>
            </a:lvl6pPr>
            <a:lvl7pPr>
              <a:defRPr lang="en-GB" sz="3000" b="1" kern="1200" noProof="0" dirty="0">
                <a:solidFill>
                  <a:schemeClr val="bg1"/>
                </a:solidFill>
                <a:latin typeface="Arial" pitchFamily="34" charset="0"/>
                <a:ea typeface="+mj-ea"/>
                <a:cs typeface="Arial" pitchFamily="34" charset="0"/>
              </a:defRPr>
            </a:lvl7pPr>
            <a:lvl8pPr>
              <a:defRPr lang="en-GB" sz="3000" b="1" kern="1200" noProof="0" dirty="0">
                <a:solidFill>
                  <a:schemeClr val="bg1"/>
                </a:solidFill>
                <a:latin typeface="Arial" pitchFamily="34" charset="0"/>
                <a:ea typeface="+mj-ea"/>
                <a:cs typeface="Arial" pitchFamily="34" charset="0"/>
              </a:defRPr>
            </a:lvl8pPr>
            <a:lvl9pPr>
              <a:defRPr lang="en-GB" sz="3000" b="1" kern="1200" noProof="0" dirty="0">
                <a:solidFill>
                  <a:schemeClr val="bg1"/>
                </a:solidFill>
                <a:latin typeface="Arial" pitchFamily="34" charset="0"/>
                <a:ea typeface="+mj-ea"/>
                <a:cs typeface="Arial" pitchFamily="34" charset="0"/>
              </a:defRPr>
            </a:lvl9pPr>
          </a:lstStyle>
          <a:p>
            <a:pPr lvl="0"/>
            <a:r>
              <a:rPr lang="en-US"/>
              <a:t>Click to edit Master title style</a:t>
            </a:r>
            <a:endParaRPr lang="en-GB" dirty="0"/>
          </a:p>
        </p:txBody>
      </p:sp>
      <p:sp>
        <p:nvSpPr>
          <p:cNvPr id="12" name="Text Placeholder 11"/>
          <p:cNvSpPr>
            <a:spLocks noGrp="1"/>
          </p:cNvSpPr>
          <p:nvPr>
            <p:ph type="body" sz="quarter" idx="10"/>
          </p:nvPr>
        </p:nvSpPr>
        <p:spPr bwMode="gray">
          <a:xfrm>
            <a:off x="323529" y="2787774"/>
            <a:ext cx="5112568" cy="792088"/>
          </a:xfrm>
          <a:noFill/>
          <a:ln w="9525">
            <a:noFill/>
            <a:miter lim="800000"/>
            <a:headEnd/>
            <a:tailEnd/>
          </a:ln>
        </p:spPr>
        <p:txBody>
          <a:bodyPr rtlCol="0">
            <a:noAutofit/>
          </a:bodyPr>
          <a:lstStyle>
            <a:lvl1pPr>
              <a:defRPr lang="en-US" sz="1200" b="0" kern="1200" noProof="0" dirty="0" smtClean="0">
                <a:solidFill>
                  <a:schemeClr val="bg1"/>
                </a:solidFill>
                <a:latin typeface="Arial" pitchFamily="34" charset="0"/>
                <a:ea typeface="+mn-ea"/>
                <a:cs typeface="Arial" pitchFamily="34" charset="0"/>
              </a:defRPr>
            </a:lvl1pPr>
            <a:lvl2pPr>
              <a:defRPr lang="en-US" sz="1200" b="0" kern="1200" noProof="0" dirty="0" smtClean="0">
                <a:solidFill>
                  <a:schemeClr val="bg1"/>
                </a:solidFill>
                <a:latin typeface="Arial" pitchFamily="34" charset="0"/>
                <a:ea typeface="+mn-ea"/>
                <a:cs typeface="Arial" pitchFamily="34" charset="0"/>
              </a:defRPr>
            </a:lvl2pPr>
            <a:lvl3pPr>
              <a:defRPr lang="en-US" sz="1200" b="0" kern="1200" noProof="0" dirty="0" smtClean="0">
                <a:solidFill>
                  <a:schemeClr val="bg1"/>
                </a:solidFill>
                <a:latin typeface="Arial" pitchFamily="34" charset="0"/>
                <a:ea typeface="+mn-ea"/>
                <a:cs typeface="Arial" pitchFamily="34" charset="0"/>
              </a:defRPr>
            </a:lvl3pPr>
            <a:lvl4pPr>
              <a:defRPr lang="en-US" sz="1200" b="0" kern="1200" noProof="0" dirty="0" smtClean="0">
                <a:solidFill>
                  <a:schemeClr val="bg1"/>
                </a:solidFill>
                <a:latin typeface="Arial" pitchFamily="34" charset="0"/>
                <a:ea typeface="+mn-ea"/>
                <a:cs typeface="Arial" pitchFamily="34" charset="0"/>
              </a:defRPr>
            </a:lvl4pPr>
            <a:lvl5pPr>
              <a:defRPr lang="en-US" sz="1200" b="0" kern="1200" noProof="0" dirty="0" smtClean="0">
                <a:solidFill>
                  <a:schemeClr val="bg1"/>
                </a:solidFill>
                <a:latin typeface="Arial" pitchFamily="34" charset="0"/>
                <a:ea typeface="+mn-ea"/>
                <a:cs typeface="Arial" pitchFamily="34" charset="0"/>
              </a:defRPr>
            </a:lvl5pPr>
            <a:lvl6pPr>
              <a:defRPr lang="en-US" sz="1200" b="0" kern="1200" noProof="0" dirty="0" smtClean="0">
                <a:solidFill>
                  <a:schemeClr val="bg1"/>
                </a:solidFill>
                <a:latin typeface="Arial" pitchFamily="34" charset="0"/>
                <a:ea typeface="+mn-ea"/>
                <a:cs typeface="Arial" pitchFamily="34" charset="0"/>
              </a:defRPr>
            </a:lvl6pPr>
            <a:lvl7pPr>
              <a:defRPr lang="en-US" sz="1200" b="0" kern="1200" noProof="0" dirty="0" smtClean="0">
                <a:solidFill>
                  <a:schemeClr val="bg1"/>
                </a:solidFill>
                <a:latin typeface="Arial" pitchFamily="34" charset="0"/>
                <a:ea typeface="+mn-ea"/>
                <a:cs typeface="Arial" pitchFamily="34" charset="0"/>
              </a:defRPr>
            </a:lvl7pPr>
            <a:lvl8pPr>
              <a:defRPr lang="en-US" sz="1200" b="0" kern="1200" noProof="0" dirty="0" smtClean="0">
                <a:solidFill>
                  <a:schemeClr val="bg1"/>
                </a:solidFill>
                <a:latin typeface="Arial" pitchFamily="34" charset="0"/>
                <a:ea typeface="+mn-ea"/>
                <a:cs typeface="Arial" pitchFamily="34" charset="0"/>
              </a:defRPr>
            </a:lvl8pPr>
            <a:lvl9pPr>
              <a:defRPr lang="en-US" sz="1200" b="0" kern="1200" noProof="0" dirty="0" smtClean="0">
                <a:solidFill>
                  <a:schemeClr val="bg1"/>
                </a:solidFill>
                <a:latin typeface="Arial" pitchFamily="34" charset="0"/>
                <a:ea typeface="+mn-ea"/>
                <a:cs typeface="Arial" pitchFamily="34" charset="0"/>
              </a:defRPr>
            </a:lvl9pPr>
          </a:lstStyle>
          <a:p>
            <a:pPr lvl="0"/>
            <a:r>
              <a:rPr lang="en-US"/>
              <a:t>Click to edit Master text styles</a:t>
            </a:r>
          </a:p>
        </p:txBody>
      </p:sp>
    </p:spTree>
    <p:extLst>
      <p:ext uri="{BB962C8B-B14F-4D97-AF65-F5344CB8AC3E}">
        <p14:creationId xmlns:p14="http://schemas.microsoft.com/office/powerpoint/2010/main" val="257819149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sp>
        <p:nvSpPr>
          <p:cNvPr id="4" name="Freeform 9"/>
          <p:cNvSpPr>
            <a:spLocks noChangeAspect="1"/>
          </p:cNvSpPr>
          <p:nvPr userDrawn="1"/>
        </p:nvSpPr>
        <p:spPr bwMode="gray">
          <a:xfrm>
            <a:off x="0" y="2"/>
            <a:ext cx="4573588" cy="4011961"/>
          </a:xfrm>
          <a:custGeom>
            <a:avLst/>
            <a:gdLst/>
            <a:ahLst/>
            <a:cxnLst>
              <a:cxn ang="0">
                <a:pos x="0" y="0"/>
              </a:cxn>
              <a:cxn ang="0">
                <a:pos x="0" y="2985"/>
              </a:cxn>
              <a:cxn ang="0">
                <a:pos x="2518" y="2985"/>
              </a:cxn>
              <a:cxn ang="0">
                <a:pos x="3402" y="0"/>
              </a:cxn>
              <a:cxn ang="0">
                <a:pos x="0" y="0"/>
              </a:cxn>
            </a:cxnLst>
            <a:rect l="0" t="0" r="r" b="b"/>
            <a:pathLst>
              <a:path w="3402" h="2985">
                <a:moveTo>
                  <a:pt x="0" y="0"/>
                </a:moveTo>
                <a:lnTo>
                  <a:pt x="0" y="2985"/>
                </a:lnTo>
                <a:lnTo>
                  <a:pt x="2518" y="2985"/>
                </a:lnTo>
                <a:lnTo>
                  <a:pt x="3402" y="0"/>
                </a:lnTo>
                <a:lnTo>
                  <a:pt x="0" y="0"/>
                </a:lnTo>
                <a:close/>
              </a:path>
            </a:pathLst>
          </a:custGeom>
          <a:gradFill rotWithShape="1">
            <a:gsLst>
              <a:gs pos="0">
                <a:srgbClr val="00257A">
                  <a:alpha val="89999"/>
                </a:srgbClr>
              </a:gs>
              <a:gs pos="35001">
                <a:srgbClr val="00338D">
                  <a:alpha val="89999"/>
                </a:srgbClr>
              </a:gs>
              <a:gs pos="100000">
                <a:srgbClr val="009FDA">
                  <a:alpha val="89999"/>
                </a:srgbClr>
              </a:gs>
            </a:gsLst>
            <a:lin ang="0" scaled="1"/>
          </a:gradFill>
          <a:ln w="9525" cap="flat" cmpd="sng">
            <a:noFill/>
            <a:prstDash val="solid"/>
            <a:round/>
            <a:headEnd type="none" w="med" len="med"/>
            <a:tailEnd type="none" w="med" len="med"/>
          </a:ln>
          <a:effectLst/>
        </p:spPr>
        <p:txBody>
          <a:bodyPr lIns="68579" tIns="34289" rIns="68579" bIns="34289">
            <a:noAutofit/>
          </a:bodyPr>
          <a:lstStyle/>
          <a:p>
            <a:pPr algn="ctr" defTabSz="685783"/>
            <a:endParaRPr lang="en-GB">
              <a:solidFill>
                <a:srgbClr val="000000"/>
              </a:solidFill>
              <a:cs typeface="Arial" charset="0"/>
            </a:endParaRPr>
          </a:p>
        </p:txBody>
      </p:sp>
      <p:sp>
        <p:nvSpPr>
          <p:cNvPr id="8" name="Title 7"/>
          <p:cNvSpPr>
            <a:spLocks noGrp="1"/>
          </p:cNvSpPr>
          <p:nvPr>
            <p:ph type="title"/>
          </p:nvPr>
        </p:nvSpPr>
        <p:spPr bwMode="gray">
          <a:xfrm>
            <a:off x="323529" y="842965"/>
            <a:ext cx="3600400" cy="1163017"/>
          </a:xfrm>
          <a:noFill/>
          <a:ln w="9525">
            <a:noFill/>
            <a:miter lim="800000"/>
            <a:headEnd/>
            <a:tailEnd/>
          </a:ln>
        </p:spPr>
        <p:txBody>
          <a:bodyPr anchor="b" anchorCtr="0">
            <a:noAutofit/>
          </a:bodyPr>
          <a:lstStyle>
            <a:lvl1pPr>
              <a:defRPr lang="en-GB" sz="3000" b="1" kern="1200" noProof="0" dirty="0" smtClean="0">
                <a:solidFill>
                  <a:schemeClr val="bg1"/>
                </a:solidFill>
                <a:latin typeface="Arial" pitchFamily="34" charset="0"/>
                <a:ea typeface="+mj-ea"/>
                <a:cs typeface="Arial" pitchFamily="34" charset="0"/>
              </a:defRPr>
            </a:lvl1pPr>
            <a:lvl2pPr>
              <a:defRPr lang="en-GB" sz="3000" b="1" kern="1200" noProof="0" dirty="0">
                <a:solidFill>
                  <a:schemeClr val="bg1"/>
                </a:solidFill>
                <a:latin typeface="Arial" pitchFamily="34" charset="0"/>
                <a:ea typeface="+mj-ea"/>
                <a:cs typeface="Arial" pitchFamily="34" charset="0"/>
              </a:defRPr>
            </a:lvl2pPr>
            <a:lvl3pPr>
              <a:defRPr lang="en-GB" sz="3000" b="1" kern="1200" noProof="0" dirty="0">
                <a:solidFill>
                  <a:schemeClr val="bg1"/>
                </a:solidFill>
                <a:latin typeface="Arial" pitchFamily="34" charset="0"/>
                <a:ea typeface="+mj-ea"/>
                <a:cs typeface="Arial" pitchFamily="34" charset="0"/>
              </a:defRPr>
            </a:lvl3pPr>
            <a:lvl4pPr>
              <a:defRPr lang="en-GB" sz="3000" b="1" kern="1200" noProof="0" dirty="0">
                <a:solidFill>
                  <a:schemeClr val="bg1"/>
                </a:solidFill>
                <a:latin typeface="Arial" pitchFamily="34" charset="0"/>
                <a:ea typeface="+mj-ea"/>
                <a:cs typeface="Arial" pitchFamily="34" charset="0"/>
              </a:defRPr>
            </a:lvl4pPr>
            <a:lvl5pPr>
              <a:defRPr lang="en-GB" sz="3000" b="1" kern="1200" noProof="0" dirty="0">
                <a:solidFill>
                  <a:schemeClr val="bg1"/>
                </a:solidFill>
                <a:latin typeface="Arial" pitchFamily="34" charset="0"/>
                <a:ea typeface="+mj-ea"/>
                <a:cs typeface="Arial" pitchFamily="34" charset="0"/>
              </a:defRPr>
            </a:lvl5pPr>
            <a:lvl6pPr>
              <a:defRPr lang="en-GB" sz="3000" b="1" kern="1200" noProof="0" dirty="0">
                <a:solidFill>
                  <a:schemeClr val="bg1"/>
                </a:solidFill>
                <a:latin typeface="Arial" pitchFamily="34" charset="0"/>
                <a:ea typeface="+mj-ea"/>
                <a:cs typeface="Arial" pitchFamily="34" charset="0"/>
              </a:defRPr>
            </a:lvl6pPr>
            <a:lvl7pPr>
              <a:defRPr lang="en-GB" sz="3000" b="1" kern="1200" noProof="0" dirty="0">
                <a:solidFill>
                  <a:schemeClr val="bg1"/>
                </a:solidFill>
                <a:latin typeface="Arial" pitchFamily="34" charset="0"/>
                <a:ea typeface="+mj-ea"/>
                <a:cs typeface="Arial" pitchFamily="34" charset="0"/>
              </a:defRPr>
            </a:lvl7pPr>
            <a:lvl8pPr>
              <a:defRPr lang="en-GB" sz="3000" b="1" kern="1200" noProof="0" dirty="0">
                <a:solidFill>
                  <a:schemeClr val="bg1"/>
                </a:solidFill>
                <a:latin typeface="Arial" pitchFamily="34" charset="0"/>
                <a:ea typeface="+mj-ea"/>
                <a:cs typeface="Arial" pitchFamily="34" charset="0"/>
              </a:defRPr>
            </a:lvl8pPr>
            <a:lvl9pPr>
              <a:defRPr lang="en-GB" sz="3000" b="1" kern="1200" noProof="0" dirty="0">
                <a:solidFill>
                  <a:schemeClr val="bg1"/>
                </a:solidFill>
                <a:latin typeface="Arial" pitchFamily="34" charset="0"/>
                <a:ea typeface="+mj-ea"/>
                <a:cs typeface="Arial" pitchFamily="34" charset="0"/>
              </a:defRPr>
            </a:lvl9pPr>
          </a:lstStyle>
          <a:p>
            <a:pPr lvl="0"/>
            <a:r>
              <a:rPr lang="en-US"/>
              <a:t>Click to edit Master title style</a:t>
            </a:r>
            <a:endParaRPr lang="en-GB" dirty="0"/>
          </a:p>
        </p:txBody>
      </p:sp>
      <p:sp>
        <p:nvSpPr>
          <p:cNvPr id="13" name="Text Placeholder 12"/>
          <p:cNvSpPr>
            <a:spLocks noGrp="1"/>
          </p:cNvSpPr>
          <p:nvPr>
            <p:ph type="body" sz="quarter" idx="10"/>
          </p:nvPr>
        </p:nvSpPr>
        <p:spPr bwMode="gray">
          <a:xfrm>
            <a:off x="323850" y="2139702"/>
            <a:ext cx="3312046" cy="792088"/>
          </a:xfrm>
          <a:noFill/>
          <a:ln w="9525">
            <a:noFill/>
            <a:miter lim="800000"/>
            <a:headEnd/>
            <a:tailEnd/>
          </a:ln>
        </p:spPr>
        <p:txBody>
          <a:bodyPr rtlCol="0">
            <a:noAutofit/>
          </a:bodyPr>
          <a:lstStyle>
            <a:lvl1pPr>
              <a:defRPr lang="en-US" sz="1200" b="0" kern="1200" noProof="0" dirty="0" smtClean="0">
                <a:solidFill>
                  <a:schemeClr val="bg1"/>
                </a:solidFill>
                <a:latin typeface="Arial" pitchFamily="34" charset="0"/>
                <a:ea typeface="+mn-ea"/>
                <a:cs typeface="Arial" pitchFamily="34" charset="0"/>
              </a:defRPr>
            </a:lvl1pPr>
            <a:lvl2pPr>
              <a:defRPr lang="en-US" sz="1200" b="0" kern="1200" noProof="0" dirty="0" smtClean="0">
                <a:solidFill>
                  <a:schemeClr val="bg1"/>
                </a:solidFill>
                <a:latin typeface="Arial" pitchFamily="34" charset="0"/>
                <a:ea typeface="+mn-ea"/>
                <a:cs typeface="Arial" pitchFamily="34" charset="0"/>
              </a:defRPr>
            </a:lvl2pPr>
            <a:lvl3pPr>
              <a:defRPr lang="en-US" sz="1200" b="0" kern="1200" noProof="0" dirty="0" smtClean="0">
                <a:solidFill>
                  <a:schemeClr val="bg1"/>
                </a:solidFill>
                <a:latin typeface="Arial" pitchFamily="34" charset="0"/>
                <a:ea typeface="+mn-ea"/>
                <a:cs typeface="Arial" pitchFamily="34" charset="0"/>
              </a:defRPr>
            </a:lvl3pPr>
            <a:lvl4pPr>
              <a:defRPr lang="en-US" sz="1200" b="0" kern="1200" noProof="0" dirty="0" smtClean="0">
                <a:solidFill>
                  <a:schemeClr val="bg1"/>
                </a:solidFill>
                <a:latin typeface="Arial" pitchFamily="34" charset="0"/>
                <a:ea typeface="+mn-ea"/>
                <a:cs typeface="Arial" pitchFamily="34" charset="0"/>
              </a:defRPr>
            </a:lvl4pPr>
            <a:lvl5pPr>
              <a:defRPr lang="en-US" sz="1200" b="0" kern="1200" noProof="0" dirty="0" smtClean="0">
                <a:solidFill>
                  <a:schemeClr val="bg1"/>
                </a:solidFill>
                <a:latin typeface="Arial" pitchFamily="34" charset="0"/>
                <a:ea typeface="+mn-ea"/>
                <a:cs typeface="Arial" pitchFamily="34" charset="0"/>
              </a:defRPr>
            </a:lvl5pPr>
            <a:lvl6pPr>
              <a:defRPr lang="en-US" sz="1200" b="0" kern="1200" noProof="0" dirty="0" smtClean="0">
                <a:solidFill>
                  <a:schemeClr val="bg1"/>
                </a:solidFill>
                <a:latin typeface="Arial" pitchFamily="34" charset="0"/>
                <a:ea typeface="+mn-ea"/>
                <a:cs typeface="Arial" pitchFamily="34" charset="0"/>
              </a:defRPr>
            </a:lvl6pPr>
            <a:lvl7pPr>
              <a:defRPr lang="en-US" sz="1200" b="0" kern="1200" noProof="0" dirty="0" smtClean="0">
                <a:solidFill>
                  <a:schemeClr val="bg1"/>
                </a:solidFill>
                <a:latin typeface="Arial" pitchFamily="34" charset="0"/>
                <a:ea typeface="+mn-ea"/>
                <a:cs typeface="Arial" pitchFamily="34" charset="0"/>
              </a:defRPr>
            </a:lvl7pPr>
            <a:lvl8pPr>
              <a:defRPr lang="en-US" sz="1200" b="0" kern="1200" noProof="0" dirty="0" smtClean="0">
                <a:solidFill>
                  <a:schemeClr val="bg1"/>
                </a:solidFill>
                <a:latin typeface="Arial" pitchFamily="34" charset="0"/>
                <a:ea typeface="+mn-ea"/>
                <a:cs typeface="Arial" pitchFamily="34" charset="0"/>
              </a:defRPr>
            </a:lvl8pPr>
            <a:lvl9pPr>
              <a:defRPr lang="en-US" sz="1200" b="0" kern="1200" noProof="0" dirty="0" smtClean="0">
                <a:solidFill>
                  <a:schemeClr val="bg1"/>
                </a:solidFill>
                <a:latin typeface="Arial" pitchFamily="34" charset="0"/>
                <a:ea typeface="+mn-ea"/>
                <a:cs typeface="Arial" pitchFamily="34" charset="0"/>
              </a:defRPr>
            </a:lvl9pPr>
          </a:lstStyle>
          <a:p>
            <a:pPr lvl="0"/>
            <a:r>
              <a:rPr lang="en-US"/>
              <a:t>Click to edit Master text styles</a:t>
            </a:r>
          </a:p>
        </p:txBody>
      </p:sp>
    </p:spTree>
    <p:extLst>
      <p:ext uri="{BB962C8B-B14F-4D97-AF65-F5344CB8AC3E}">
        <p14:creationId xmlns:p14="http://schemas.microsoft.com/office/powerpoint/2010/main" val="266694837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Photo divider 1">
    <p:bg>
      <p:bgPr>
        <a:solidFill>
          <a:schemeClr val="bg1"/>
        </a:solidFill>
        <a:effectLst/>
      </p:bgPr>
    </p:bg>
    <p:spTree>
      <p:nvGrpSpPr>
        <p:cNvPr id="1" name=""/>
        <p:cNvGrpSpPr/>
        <p:nvPr/>
      </p:nvGrpSpPr>
      <p:grpSpPr>
        <a:xfrm>
          <a:off x="0" y="0"/>
          <a:ext cx="0" cy="0"/>
          <a:chOff x="0" y="0"/>
          <a:chExt cx="0" cy="0"/>
        </a:xfrm>
      </p:grpSpPr>
      <p:pic>
        <p:nvPicPr>
          <p:cNvPr id="4" name="Picture 3" descr="widescreen_div2.jpg"/>
          <p:cNvPicPr>
            <a:picLocks noChangeAspect="1"/>
          </p:cNvPicPr>
          <p:nvPr userDrawn="1"/>
        </p:nvPicPr>
        <p:blipFill>
          <a:blip r:embed="rId2" cstate="print"/>
          <a:stretch>
            <a:fillRect/>
          </a:stretch>
        </p:blipFill>
        <p:spPr>
          <a:xfrm>
            <a:off x="6764" y="0"/>
            <a:ext cx="9130473" cy="5143500"/>
          </a:xfrm>
          <a:prstGeom prst="rect">
            <a:avLst/>
          </a:prstGeom>
        </p:spPr>
      </p:pic>
      <p:sp>
        <p:nvSpPr>
          <p:cNvPr id="2054" name="Freeform 6"/>
          <p:cNvSpPr>
            <a:spLocks noChangeAspect="1"/>
          </p:cNvSpPr>
          <p:nvPr userDrawn="1"/>
        </p:nvSpPr>
        <p:spPr bwMode="auto">
          <a:xfrm>
            <a:off x="0" y="3361500"/>
            <a:ext cx="4577506" cy="1782000"/>
          </a:xfrm>
          <a:custGeom>
            <a:avLst/>
            <a:gdLst/>
            <a:ahLst/>
            <a:cxnLst>
              <a:cxn ang="0">
                <a:pos x="0" y="0"/>
              </a:cxn>
              <a:cxn ang="0">
                <a:pos x="0" y="1811"/>
              </a:cxn>
              <a:cxn ang="0">
                <a:pos x="4118" y="1811"/>
              </a:cxn>
              <a:cxn ang="0">
                <a:pos x="4652" y="0"/>
              </a:cxn>
              <a:cxn ang="0">
                <a:pos x="0" y="0"/>
              </a:cxn>
            </a:cxnLst>
            <a:rect l="0" t="0" r="r" b="b"/>
            <a:pathLst>
              <a:path w="4652" h="1811">
                <a:moveTo>
                  <a:pt x="0" y="0"/>
                </a:moveTo>
                <a:lnTo>
                  <a:pt x="0" y="1811"/>
                </a:lnTo>
                <a:lnTo>
                  <a:pt x="4118" y="1811"/>
                </a:lnTo>
                <a:lnTo>
                  <a:pt x="4652" y="0"/>
                </a:lnTo>
                <a:lnTo>
                  <a:pt x="0" y="0"/>
                </a:lnTo>
                <a:close/>
              </a:path>
            </a:pathLst>
          </a:custGeom>
          <a:solidFill>
            <a:schemeClr val="bg1"/>
          </a:solidFill>
          <a:ln w="9525">
            <a:noFill/>
            <a:round/>
            <a:headEnd/>
            <a:tailEnd/>
          </a:ln>
        </p:spPr>
        <p:txBody>
          <a:bodyPr vert="horz" wrap="square" lIns="91438" tIns="45719" rIns="91438" bIns="45719" numCol="1" anchor="t" anchorCtr="0" compatLnSpc="1">
            <a:prstTxWarp prst="textNoShape">
              <a:avLst/>
            </a:prstTxWarp>
            <a:noAutofit/>
          </a:bodyPr>
          <a:lstStyle/>
          <a:p>
            <a:pPr algn="ctr" defTabSz="685783"/>
            <a:endParaRPr lang="en-GB">
              <a:solidFill>
                <a:srgbClr val="000000"/>
              </a:solidFill>
              <a:cs typeface="Arial" charset="0"/>
            </a:endParaRPr>
          </a:p>
        </p:txBody>
      </p:sp>
      <p:sp>
        <p:nvSpPr>
          <p:cNvPr id="28" name="Title 27"/>
          <p:cNvSpPr>
            <a:spLocks noGrp="1"/>
          </p:cNvSpPr>
          <p:nvPr>
            <p:ph type="title"/>
          </p:nvPr>
        </p:nvSpPr>
        <p:spPr>
          <a:xfrm>
            <a:off x="323528" y="3723880"/>
            <a:ext cx="3744417" cy="1152128"/>
          </a:xfrm>
          <a:noFill/>
          <a:ln w="9525">
            <a:noFill/>
            <a:miter lim="800000"/>
            <a:headEnd/>
            <a:tailEnd/>
          </a:ln>
        </p:spPr>
        <p:txBody>
          <a:bodyPr vert="horz" wrap="square" lIns="0" tIns="0" rIns="0" bIns="0" numCol="1" anchor="t" anchorCtr="0" compatLnSpc="1">
            <a:prstTxWarp prst="textNoShape">
              <a:avLst/>
            </a:prstTxWarp>
            <a:noAutofit/>
          </a:bodyPr>
          <a:lstStyle>
            <a:lvl1pPr>
              <a:defRPr lang="en-GB" sz="3000" b="1" kern="1200" noProof="0" dirty="0" smtClean="0">
                <a:solidFill>
                  <a:srgbClr val="00338D"/>
                </a:solidFill>
                <a:latin typeface="Arial" pitchFamily="34" charset="0"/>
                <a:ea typeface="+mj-ea"/>
                <a:cs typeface="Arial" pitchFamily="34" charset="0"/>
              </a:defRPr>
            </a:lvl1pPr>
          </a:lstStyle>
          <a:p>
            <a:pPr lvl="0" algn="l" rtl="0" fontAlgn="base">
              <a:spcBef>
                <a:spcPct val="0"/>
              </a:spcBef>
              <a:spcAft>
                <a:spcPct val="0"/>
              </a:spcAft>
            </a:pPr>
            <a:r>
              <a:rPr lang="en-US"/>
              <a:t>Click to edit Master title style</a:t>
            </a:r>
            <a:endParaRPr lang="en-GB" dirty="0"/>
          </a:p>
        </p:txBody>
      </p:sp>
    </p:spTree>
    <p:extLst>
      <p:ext uri="{BB962C8B-B14F-4D97-AF65-F5344CB8AC3E}">
        <p14:creationId xmlns:p14="http://schemas.microsoft.com/office/powerpoint/2010/main" val="17983506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userDrawn="1">
            <p:ph type="ctrTitle" hasCustomPrompt="1"/>
          </p:nvPr>
        </p:nvSpPr>
        <p:spPr>
          <a:xfrm>
            <a:off x="2342569" y="1978296"/>
            <a:ext cx="5594023" cy="516968"/>
          </a:xfrm>
        </p:spPr>
        <p:txBody>
          <a:bodyPr wrap="square" anchor="ctr" anchorCtr="0">
            <a:spAutoFit/>
          </a:bodyPr>
          <a:lstStyle>
            <a:lvl1pPr>
              <a:defRPr sz="3200" b="1" baseline="0">
                <a:solidFill>
                  <a:srgbClr val="FFFFFF"/>
                </a:solidFill>
              </a:defRPr>
            </a:lvl1pPr>
          </a:lstStyle>
          <a:p>
            <a:r>
              <a:rPr lang="en-US" dirty="0"/>
              <a:t>&lt;Section Name Here&gt;</a:t>
            </a:r>
          </a:p>
        </p:txBody>
      </p:sp>
      <p:sp>
        <p:nvSpPr>
          <p:cNvPr id="6" name="Text Placeholder 5"/>
          <p:cNvSpPr>
            <a:spLocks noGrp="1"/>
          </p:cNvSpPr>
          <p:nvPr>
            <p:ph type="body" sz="quarter" idx="10" hasCustomPrompt="1"/>
          </p:nvPr>
        </p:nvSpPr>
        <p:spPr>
          <a:xfrm>
            <a:off x="2342569" y="2514600"/>
            <a:ext cx="5594022" cy="285750"/>
          </a:xfrm>
          <a:prstGeom prst="rect">
            <a:avLst/>
          </a:prstGeom>
        </p:spPr>
        <p:txBody>
          <a:bodyPr>
            <a:noAutofit/>
          </a:bodyPr>
          <a:lstStyle>
            <a:lvl1pPr marL="0" indent="0">
              <a:buNone/>
              <a:defRPr sz="2000">
                <a:solidFill>
                  <a:srgbClr val="FFFFFF"/>
                </a:solidFill>
              </a:defRPr>
            </a:lvl1pPr>
            <a:lvl2pPr marL="288707" indent="0">
              <a:buNone/>
              <a:defRPr/>
            </a:lvl2pPr>
            <a:lvl3pPr marL="569477" indent="0">
              <a:buNone/>
              <a:defRPr/>
            </a:lvl3pPr>
            <a:lvl4pPr marL="855009" indent="0">
              <a:buNone/>
              <a:defRPr/>
            </a:lvl4pPr>
            <a:lvl5pPr marL="1140542" indent="0">
              <a:buNone/>
              <a:defRPr/>
            </a:lvl5pPr>
          </a:lstStyle>
          <a:p>
            <a:pPr lvl="0"/>
            <a:r>
              <a:rPr lang="en-US" dirty="0"/>
              <a:t>&lt;sub head here&gt;</a:t>
            </a:r>
          </a:p>
        </p:txBody>
      </p:sp>
    </p:spTree>
    <p:extLst>
      <p:ext uri="{BB962C8B-B14F-4D97-AF65-F5344CB8AC3E}">
        <p14:creationId xmlns:p14="http://schemas.microsoft.com/office/powerpoint/2010/main" val="1062477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Photo divider 2">
    <p:bg>
      <p:bgPr>
        <a:solidFill>
          <a:schemeClr val="bg1"/>
        </a:solidFill>
        <a:effectLst/>
      </p:bgPr>
    </p:bg>
    <p:spTree>
      <p:nvGrpSpPr>
        <p:cNvPr id="1" name=""/>
        <p:cNvGrpSpPr/>
        <p:nvPr/>
      </p:nvGrpSpPr>
      <p:grpSpPr>
        <a:xfrm>
          <a:off x="0" y="0"/>
          <a:ext cx="0" cy="0"/>
          <a:chOff x="0" y="0"/>
          <a:chExt cx="0" cy="0"/>
        </a:xfrm>
      </p:grpSpPr>
      <p:pic>
        <p:nvPicPr>
          <p:cNvPr id="5" name="Picture 4" descr="widescreen_div1.jpg"/>
          <p:cNvPicPr>
            <a:picLocks noChangeAspect="1"/>
          </p:cNvPicPr>
          <p:nvPr userDrawn="1"/>
        </p:nvPicPr>
        <p:blipFill>
          <a:blip r:embed="rId2" cstate="print"/>
          <a:stretch>
            <a:fillRect/>
          </a:stretch>
        </p:blipFill>
        <p:spPr>
          <a:xfrm>
            <a:off x="6764" y="0"/>
            <a:ext cx="9130473" cy="5143500"/>
          </a:xfrm>
          <a:prstGeom prst="rect">
            <a:avLst/>
          </a:prstGeom>
        </p:spPr>
      </p:pic>
      <p:sp>
        <p:nvSpPr>
          <p:cNvPr id="4" name="Freeform 9"/>
          <p:cNvSpPr>
            <a:spLocks noChangeAspect="1"/>
          </p:cNvSpPr>
          <p:nvPr userDrawn="1"/>
        </p:nvSpPr>
        <p:spPr bwMode="gray">
          <a:xfrm>
            <a:off x="0" y="2"/>
            <a:ext cx="4573588" cy="4011961"/>
          </a:xfrm>
          <a:custGeom>
            <a:avLst/>
            <a:gdLst/>
            <a:ahLst/>
            <a:cxnLst>
              <a:cxn ang="0">
                <a:pos x="0" y="0"/>
              </a:cxn>
              <a:cxn ang="0">
                <a:pos x="0" y="2985"/>
              </a:cxn>
              <a:cxn ang="0">
                <a:pos x="2518" y="2985"/>
              </a:cxn>
              <a:cxn ang="0">
                <a:pos x="3402" y="0"/>
              </a:cxn>
              <a:cxn ang="0">
                <a:pos x="0" y="0"/>
              </a:cxn>
            </a:cxnLst>
            <a:rect l="0" t="0" r="r" b="b"/>
            <a:pathLst>
              <a:path w="3402" h="2985">
                <a:moveTo>
                  <a:pt x="0" y="0"/>
                </a:moveTo>
                <a:lnTo>
                  <a:pt x="0" y="2985"/>
                </a:lnTo>
                <a:lnTo>
                  <a:pt x="2518" y="2985"/>
                </a:lnTo>
                <a:lnTo>
                  <a:pt x="3402" y="0"/>
                </a:lnTo>
                <a:lnTo>
                  <a:pt x="0" y="0"/>
                </a:lnTo>
                <a:close/>
              </a:path>
            </a:pathLst>
          </a:custGeom>
          <a:gradFill rotWithShape="1">
            <a:gsLst>
              <a:gs pos="0">
                <a:srgbClr val="00257A">
                  <a:alpha val="89999"/>
                </a:srgbClr>
              </a:gs>
              <a:gs pos="35001">
                <a:srgbClr val="00338D">
                  <a:alpha val="89999"/>
                </a:srgbClr>
              </a:gs>
              <a:gs pos="100000">
                <a:srgbClr val="009FDA">
                  <a:alpha val="89999"/>
                </a:srgbClr>
              </a:gs>
            </a:gsLst>
            <a:lin ang="0" scaled="1"/>
          </a:gradFill>
          <a:ln w="9525" cap="flat" cmpd="sng">
            <a:noFill/>
            <a:prstDash val="solid"/>
            <a:round/>
            <a:headEnd type="none" w="med" len="med"/>
            <a:tailEnd type="none" w="med" len="med"/>
          </a:ln>
          <a:effectLst/>
        </p:spPr>
        <p:txBody>
          <a:bodyPr lIns="68579" tIns="34289" rIns="68579" bIns="34289">
            <a:noAutofit/>
          </a:bodyPr>
          <a:lstStyle/>
          <a:p>
            <a:pPr algn="ctr" defTabSz="685783"/>
            <a:endParaRPr lang="en-GB">
              <a:solidFill>
                <a:srgbClr val="000000"/>
              </a:solidFill>
              <a:cs typeface="Arial" charset="0"/>
            </a:endParaRPr>
          </a:p>
        </p:txBody>
      </p:sp>
      <p:sp>
        <p:nvSpPr>
          <p:cNvPr id="8" name="Title 7"/>
          <p:cNvSpPr>
            <a:spLocks noGrp="1"/>
          </p:cNvSpPr>
          <p:nvPr>
            <p:ph type="title"/>
          </p:nvPr>
        </p:nvSpPr>
        <p:spPr bwMode="gray">
          <a:xfrm>
            <a:off x="323529" y="842963"/>
            <a:ext cx="3600400" cy="1163018"/>
          </a:xfrm>
          <a:noFill/>
          <a:ln w="9525">
            <a:noFill/>
            <a:miter lim="800000"/>
            <a:headEnd/>
            <a:tailEnd/>
          </a:ln>
        </p:spPr>
        <p:txBody>
          <a:bodyPr anchor="b" anchorCtr="0">
            <a:noAutofit/>
          </a:bodyPr>
          <a:lstStyle>
            <a:lvl1pPr>
              <a:defRPr lang="en-GB" sz="3000" b="1" kern="1200" noProof="0" dirty="0" smtClean="0">
                <a:solidFill>
                  <a:schemeClr val="bg1"/>
                </a:solidFill>
                <a:latin typeface="Arial" pitchFamily="34" charset="0"/>
                <a:ea typeface="+mj-ea"/>
                <a:cs typeface="Arial" pitchFamily="34" charset="0"/>
              </a:defRPr>
            </a:lvl1pPr>
            <a:lvl2pPr>
              <a:defRPr lang="en-GB" sz="3000" b="1" kern="1200" noProof="0" dirty="0">
                <a:solidFill>
                  <a:schemeClr val="bg1"/>
                </a:solidFill>
                <a:latin typeface="Arial" pitchFamily="34" charset="0"/>
                <a:ea typeface="+mj-ea"/>
                <a:cs typeface="Arial" pitchFamily="34" charset="0"/>
              </a:defRPr>
            </a:lvl2pPr>
            <a:lvl3pPr>
              <a:defRPr lang="en-GB" sz="3000" b="1" kern="1200" noProof="0" dirty="0">
                <a:solidFill>
                  <a:schemeClr val="bg1"/>
                </a:solidFill>
                <a:latin typeface="Arial" pitchFamily="34" charset="0"/>
                <a:ea typeface="+mj-ea"/>
                <a:cs typeface="Arial" pitchFamily="34" charset="0"/>
              </a:defRPr>
            </a:lvl3pPr>
            <a:lvl4pPr>
              <a:defRPr lang="en-GB" sz="3000" b="1" kern="1200" noProof="0" dirty="0">
                <a:solidFill>
                  <a:schemeClr val="bg1"/>
                </a:solidFill>
                <a:latin typeface="Arial" pitchFamily="34" charset="0"/>
                <a:ea typeface="+mj-ea"/>
                <a:cs typeface="Arial" pitchFamily="34" charset="0"/>
              </a:defRPr>
            </a:lvl4pPr>
            <a:lvl5pPr>
              <a:defRPr lang="en-GB" sz="3000" b="1" kern="1200" noProof="0" dirty="0">
                <a:solidFill>
                  <a:schemeClr val="bg1"/>
                </a:solidFill>
                <a:latin typeface="Arial" pitchFamily="34" charset="0"/>
                <a:ea typeface="+mj-ea"/>
                <a:cs typeface="Arial" pitchFamily="34" charset="0"/>
              </a:defRPr>
            </a:lvl5pPr>
            <a:lvl6pPr>
              <a:defRPr lang="en-GB" sz="3000" b="1" kern="1200" noProof="0" dirty="0">
                <a:solidFill>
                  <a:schemeClr val="bg1"/>
                </a:solidFill>
                <a:latin typeface="Arial" pitchFamily="34" charset="0"/>
                <a:ea typeface="+mj-ea"/>
                <a:cs typeface="Arial" pitchFamily="34" charset="0"/>
              </a:defRPr>
            </a:lvl6pPr>
            <a:lvl7pPr>
              <a:defRPr lang="en-GB" sz="3000" b="1" kern="1200" noProof="0" dirty="0">
                <a:solidFill>
                  <a:schemeClr val="bg1"/>
                </a:solidFill>
                <a:latin typeface="Arial" pitchFamily="34" charset="0"/>
                <a:ea typeface="+mj-ea"/>
                <a:cs typeface="Arial" pitchFamily="34" charset="0"/>
              </a:defRPr>
            </a:lvl7pPr>
            <a:lvl8pPr>
              <a:defRPr lang="en-GB" sz="3000" b="1" kern="1200" noProof="0" dirty="0">
                <a:solidFill>
                  <a:schemeClr val="bg1"/>
                </a:solidFill>
                <a:latin typeface="Arial" pitchFamily="34" charset="0"/>
                <a:ea typeface="+mj-ea"/>
                <a:cs typeface="Arial" pitchFamily="34" charset="0"/>
              </a:defRPr>
            </a:lvl8pPr>
            <a:lvl9pPr>
              <a:defRPr lang="en-GB" sz="3000" b="1" kern="1200" noProof="0" dirty="0">
                <a:solidFill>
                  <a:schemeClr val="bg1"/>
                </a:solidFill>
                <a:latin typeface="Arial" pitchFamily="34" charset="0"/>
                <a:ea typeface="+mj-ea"/>
                <a:cs typeface="Arial" pitchFamily="34" charset="0"/>
              </a:defRPr>
            </a:lvl9pPr>
          </a:lstStyle>
          <a:p>
            <a:pPr lvl="0"/>
            <a:r>
              <a:rPr lang="en-US"/>
              <a:t>Click to edit Master title style</a:t>
            </a:r>
            <a:endParaRPr lang="en-GB" dirty="0"/>
          </a:p>
        </p:txBody>
      </p:sp>
      <p:sp>
        <p:nvSpPr>
          <p:cNvPr id="13" name="Text Placeholder 12"/>
          <p:cNvSpPr>
            <a:spLocks noGrp="1"/>
          </p:cNvSpPr>
          <p:nvPr>
            <p:ph type="body" sz="quarter" idx="10"/>
          </p:nvPr>
        </p:nvSpPr>
        <p:spPr bwMode="gray">
          <a:xfrm>
            <a:off x="323530" y="2139702"/>
            <a:ext cx="3312368" cy="792088"/>
          </a:xfrm>
          <a:noFill/>
          <a:ln w="9525">
            <a:noFill/>
            <a:miter lim="800000"/>
            <a:headEnd/>
            <a:tailEnd/>
          </a:ln>
        </p:spPr>
        <p:txBody>
          <a:bodyPr rtlCol="0">
            <a:noAutofit/>
          </a:bodyPr>
          <a:lstStyle>
            <a:lvl1pPr>
              <a:defRPr lang="en-US" sz="1200" b="0" kern="1200" noProof="0" dirty="0" smtClean="0">
                <a:solidFill>
                  <a:schemeClr val="bg1"/>
                </a:solidFill>
                <a:latin typeface="Arial" pitchFamily="34" charset="0"/>
                <a:ea typeface="+mn-ea"/>
                <a:cs typeface="Arial" pitchFamily="34" charset="0"/>
              </a:defRPr>
            </a:lvl1pPr>
            <a:lvl2pPr>
              <a:defRPr lang="en-US" sz="1200" b="0" kern="1200" noProof="0" dirty="0" smtClean="0">
                <a:solidFill>
                  <a:schemeClr val="bg1"/>
                </a:solidFill>
                <a:latin typeface="Arial" pitchFamily="34" charset="0"/>
                <a:ea typeface="+mn-ea"/>
                <a:cs typeface="Arial" pitchFamily="34" charset="0"/>
              </a:defRPr>
            </a:lvl2pPr>
            <a:lvl3pPr>
              <a:defRPr lang="en-US" sz="1200" b="0" kern="1200" noProof="0" dirty="0" smtClean="0">
                <a:solidFill>
                  <a:schemeClr val="bg1"/>
                </a:solidFill>
                <a:latin typeface="Arial" pitchFamily="34" charset="0"/>
                <a:ea typeface="+mn-ea"/>
                <a:cs typeface="Arial" pitchFamily="34" charset="0"/>
              </a:defRPr>
            </a:lvl3pPr>
            <a:lvl4pPr>
              <a:defRPr lang="en-US" sz="1200" b="0" kern="1200" noProof="0" dirty="0" smtClean="0">
                <a:solidFill>
                  <a:schemeClr val="bg1"/>
                </a:solidFill>
                <a:latin typeface="Arial" pitchFamily="34" charset="0"/>
                <a:ea typeface="+mn-ea"/>
                <a:cs typeface="Arial" pitchFamily="34" charset="0"/>
              </a:defRPr>
            </a:lvl4pPr>
            <a:lvl5pPr>
              <a:defRPr lang="en-US" sz="1200" b="0" kern="1200" noProof="0" dirty="0" smtClean="0">
                <a:solidFill>
                  <a:schemeClr val="bg1"/>
                </a:solidFill>
                <a:latin typeface="Arial" pitchFamily="34" charset="0"/>
                <a:ea typeface="+mn-ea"/>
                <a:cs typeface="Arial" pitchFamily="34" charset="0"/>
              </a:defRPr>
            </a:lvl5pPr>
            <a:lvl6pPr>
              <a:defRPr lang="en-US" sz="1200" b="0" kern="1200" noProof="0" dirty="0" smtClean="0">
                <a:solidFill>
                  <a:schemeClr val="bg1"/>
                </a:solidFill>
                <a:latin typeface="Arial" pitchFamily="34" charset="0"/>
                <a:ea typeface="+mn-ea"/>
                <a:cs typeface="Arial" pitchFamily="34" charset="0"/>
              </a:defRPr>
            </a:lvl6pPr>
            <a:lvl7pPr>
              <a:defRPr lang="en-US" sz="1200" b="0" kern="1200" noProof="0" dirty="0" smtClean="0">
                <a:solidFill>
                  <a:schemeClr val="bg1"/>
                </a:solidFill>
                <a:latin typeface="Arial" pitchFamily="34" charset="0"/>
                <a:ea typeface="+mn-ea"/>
                <a:cs typeface="Arial" pitchFamily="34" charset="0"/>
              </a:defRPr>
            </a:lvl7pPr>
            <a:lvl8pPr>
              <a:defRPr lang="en-US" sz="1200" b="0" kern="1200" noProof="0" dirty="0" smtClean="0">
                <a:solidFill>
                  <a:schemeClr val="bg1"/>
                </a:solidFill>
                <a:latin typeface="Arial" pitchFamily="34" charset="0"/>
                <a:ea typeface="+mn-ea"/>
                <a:cs typeface="Arial" pitchFamily="34" charset="0"/>
              </a:defRPr>
            </a:lvl8pPr>
            <a:lvl9pPr>
              <a:defRPr lang="en-US" sz="1200" b="0" kern="1200" noProof="0" dirty="0" smtClean="0">
                <a:solidFill>
                  <a:schemeClr val="bg1"/>
                </a:solidFill>
                <a:latin typeface="Arial" pitchFamily="34" charset="0"/>
                <a:ea typeface="+mn-ea"/>
                <a:cs typeface="Arial" pitchFamily="34" charset="0"/>
              </a:defRPr>
            </a:lvl9pPr>
          </a:lstStyle>
          <a:p>
            <a:pPr lvl="0"/>
            <a:r>
              <a:rPr lang="en-US"/>
              <a:t>Click to edit Master text styles</a:t>
            </a:r>
          </a:p>
        </p:txBody>
      </p:sp>
    </p:spTree>
    <p:extLst>
      <p:ext uri="{BB962C8B-B14F-4D97-AF65-F5344CB8AC3E}">
        <p14:creationId xmlns:p14="http://schemas.microsoft.com/office/powerpoint/2010/main" val="120595886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rademark statement with social media">
    <p:spTree>
      <p:nvGrpSpPr>
        <p:cNvPr id="1" name=""/>
        <p:cNvGrpSpPr/>
        <p:nvPr/>
      </p:nvGrpSpPr>
      <p:grpSpPr>
        <a:xfrm>
          <a:off x="0" y="0"/>
          <a:ext cx="0" cy="0"/>
          <a:chOff x="0" y="0"/>
          <a:chExt cx="0" cy="0"/>
        </a:xfrm>
      </p:grpSpPr>
      <p:sp>
        <p:nvSpPr>
          <p:cNvPr id="3" name="Freeform 9"/>
          <p:cNvSpPr>
            <a:spLocks/>
          </p:cNvSpPr>
          <p:nvPr userDrawn="1"/>
        </p:nvSpPr>
        <p:spPr bwMode="gray">
          <a:xfrm>
            <a:off x="1" y="0"/>
            <a:ext cx="4578350" cy="2577304"/>
          </a:xfrm>
          <a:custGeom>
            <a:avLst/>
            <a:gdLst/>
            <a:ahLst/>
            <a:cxnLst>
              <a:cxn ang="0">
                <a:pos x="2403" y="1624"/>
              </a:cxn>
              <a:cxn ang="0">
                <a:pos x="2884" y="0"/>
              </a:cxn>
              <a:cxn ang="0">
                <a:pos x="0" y="0"/>
              </a:cxn>
              <a:cxn ang="0">
                <a:pos x="0" y="1624"/>
              </a:cxn>
              <a:cxn ang="0">
                <a:pos x="2403" y="1624"/>
              </a:cxn>
            </a:cxnLst>
            <a:rect l="0" t="0" r="r" b="b"/>
            <a:pathLst>
              <a:path w="2884" h="1624">
                <a:moveTo>
                  <a:pt x="2403" y="1624"/>
                </a:moveTo>
                <a:lnTo>
                  <a:pt x="2884" y="0"/>
                </a:lnTo>
                <a:lnTo>
                  <a:pt x="0" y="0"/>
                </a:lnTo>
                <a:lnTo>
                  <a:pt x="0" y="1624"/>
                </a:lnTo>
                <a:lnTo>
                  <a:pt x="2403" y="1624"/>
                </a:lnTo>
                <a:close/>
              </a:path>
            </a:pathLst>
          </a:custGeom>
          <a:gradFill rotWithShape="1">
            <a:gsLst>
              <a:gs pos="0">
                <a:srgbClr val="00257A">
                  <a:alpha val="89999"/>
                </a:srgbClr>
              </a:gs>
              <a:gs pos="35001">
                <a:srgbClr val="00338D">
                  <a:alpha val="89999"/>
                </a:srgbClr>
              </a:gs>
              <a:gs pos="100000">
                <a:srgbClr val="009FDA">
                  <a:alpha val="89999"/>
                </a:srgbClr>
              </a:gs>
            </a:gsLst>
            <a:lin ang="0" scaled="1"/>
          </a:gradFill>
          <a:ln w="9525" cap="flat" cmpd="sng">
            <a:noFill/>
            <a:prstDash val="solid"/>
            <a:round/>
            <a:headEnd type="none" w="med" len="med"/>
            <a:tailEnd type="none" w="med" len="med"/>
          </a:ln>
          <a:effectLst/>
        </p:spPr>
        <p:txBody>
          <a:bodyPr lIns="68579" tIns="34289" rIns="68579" bIns="34289">
            <a:noAutofit/>
          </a:bodyPr>
          <a:lstStyle/>
          <a:p>
            <a:pPr algn="ctr" defTabSz="685783"/>
            <a:endParaRPr lang="en-GB">
              <a:solidFill>
                <a:srgbClr val="000000"/>
              </a:solidFill>
              <a:cs typeface="Arial" charset="0"/>
            </a:endParaRPr>
          </a:p>
        </p:txBody>
      </p:sp>
      <p:sp>
        <p:nvSpPr>
          <p:cNvPr id="13" name="Text Placeholder 12"/>
          <p:cNvSpPr>
            <a:spLocks noGrp="1"/>
          </p:cNvSpPr>
          <p:nvPr>
            <p:ph type="body" sz="quarter" idx="10"/>
          </p:nvPr>
        </p:nvSpPr>
        <p:spPr>
          <a:xfrm>
            <a:off x="323528" y="2800351"/>
            <a:ext cx="3456384" cy="1600200"/>
          </a:xfrm>
          <a:noFill/>
          <a:ln w="9525">
            <a:noFill/>
            <a:miter lim="800000"/>
            <a:headEnd/>
            <a:tailEnd/>
          </a:ln>
        </p:spPr>
        <p:txBody>
          <a:bodyPr rtlCol="0" anchor="b">
            <a:noAutofit/>
          </a:bodyPr>
          <a:lstStyle>
            <a:lvl1pPr>
              <a:defRPr lang="en-US" sz="700" b="0" kern="1200" noProof="0" dirty="0" smtClean="0">
                <a:solidFill>
                  <a:schemeClr val="tx1"/>
                </a:solidFill>
                <a:latin typeface="Arial" pitchFamily="34" charset="0"/>
                <a:ea typeface="+mn-ea"/>
                <a:cs typeface="Arial" pitchFamily="34" charset="0"/>
              </a:defRPr>
            </a:lvl1pPr>
            <a:lvl2pPr>
              <a:defRPr sz="1200"/>
            </a:lvl2pPr>
            <a:lvl3pPr>
              <a:defRPr lang="en-US" sz="1200" b="0" kern="1200" noProof="0" dirty="0" smtClean="0">
                <a:solidFill>
                  <a:schemeClr val="tx1"/>
                </a:solidFill>
                <a:latin typeface="Arial" pitchFamily="34" charset="0"/>
                <a:ea typeface="+mn-ea"/>
                <a:cs typeface="Arial" pitchFamily="34" charset="0"/>
              </a:defRPr>
            </a:lvl3pPr>
            <a:lvl4pPr>
              <a:defRPr lang="en-US" sz="1200" b="0" kern="1200" noProof="0" dirty="0" smtClean="0">
                <a:solidFill>
                  <a:schemeClr val="tx1"/>
                </a:solidFill>
                <a:latin typeface="Arial" pitchFamily="34" charset="0"/>
                <a:ea typeface="+mn-ea"/>
                <a:cs typeface="Arial" pitchFamily="34" charset="0"/>
              </a:defRPr>
            </a:lvl4pPr>
            <a:lvl5pPr>
              <a:defRPr lang="en-US" sz="1200" b="0" kern="1200" noProof="0" dirty="0" smtClean="0">
                <a:solidFill>
                  <a:schemeClr val="tx1"/>
                </a:solidFill>
                <a:latin typeface="Arial" pitchFamily="34" charset="0"/>
                <a:ea typeface="+mn-ea"/>
                <a:cs typeface="Arial" pitchFamily="34" charset="0"/>
              </a:defRPr>
            </a:lvl5pPr>
            <a:lvl6pPr>
              <a:defRPr lang="en-US" sz="1200" b="0" kern="1200" noProof="0" dirty="0" smtClean="0">
                <a:solidFill>
                  <a:schemeClr val="tx1"/>
                </a:solidFill>
                <a:latin typeface="Arial" pitchFamily="34" charset="0"/>
                <a:ea typeface="+mn-ea"/>
                <a:cs typeface="Arial" pitchFamily="34" charset="0"/>
              </a:defRPr>
            </a:lvl6pPr>
            <a:lvl7pPr>
              <a:defRPr lang="en-US" sz="1200" b="0" kern="1200" noProof="0" dirty="0" smtClean="0">
                <a:solidFill>
                  <a:schemeClr val="tx1"/>
                </a:solidFill>
                <a:latin typeface="Arial" pitchFamily="34" charset="0"/>
                <a:ea typeface="+mn-ea"/>
                <a:cs typeface="Arial" pitchFamily="34" charset="0"/>
              </a:defRPr>
            </a:lvl7pPr>
            <a:lvl8pPr>
              <a:defRPr lang="en-US" sz="1200" b="0" kern="1200" noProof="0" dirty="0" smtClean="0">
                <a:solidFill>
                  <a:schemeClr val="tx1"/>
                </a:solidFill>
                <a:latin typeface="Arial" pitchFamily="34" charset="0"/>
                <a:ea typeface="+mn-ea"/>
                <a:cs typeface="Arial" pitchFamily="34" charset="0"/>
              </a:defRPr>
            </a:lvl8pPr>
            <a:lvl9pPr>
              <a:defRPr lang="en-US" sz="1200" b="0" kern="1200" noProof="0" dirty="0" smtClean="0">
                <a:solidFill>
                  <a:schemeClr val="tx1"/>
                </a:solidFill>
                <a:latin typeface="Arial" pitchFamily="34" charset="0"/>
                <a:ea typeface="+mn-ea"/>
                <a:cs typeface="Arial" pitchFamily="34" charset="0"/>
              </a:defRPr>
            </a:lvl9pPr>
          </a:lstStyle>
          <a:p>
            <a:pPr lvl="0"/>
            <a:r>
              <a:rPr lang="en-US"/>
              <a:t>Click to edit Master text styles</a:t>
            </a:r>
          </a:p>
        </p:txBody>
      </p:sp>
      <p:grpSp>
        <p:nvGrpSpPr>
          <p:cNvPr id="10" name="Group 9"/>
          <p:cNvGrpSpPr>
            <a:grpSpLocks noChangeAspect="1"/>
          </p:cNvGrpSpPr>
          <p:nvPr userDrawn="1"/>
        </p:nvGrpSpPr>
        <p:grpSpPr>
          <a:xfrm>
            <a:off x="180000" y="1"/>
            <a:ext cx="2049042" cy="1209600"/>
            <a:chOff x="128464" y="1"/>
            <a:chExt cx="2160000" cy="1275101"/>
          </a:xfrm>
        </p:grpSpPr>
        <p:sp>
          <p:nvSpPr>
            <p:cNvPr id="11" name="Freeform 14"/>
            <p:cNvSpPr>
              <a:spLocks noChangeAspect="1" noEditPoints="1"/>
            </p:cNvSpPr>
            <p:nvPr userDrawn="1"/>
          </p:nvSpPr>
          <p:spPr bwMode="white">
            <a:xfrm>
              <a:off x="301741" y="328035"/>
              <a:ext cx="1765830" cy="646810"/>
            </a:xfrm>
            <a:custGeom>
              <a:avLst/>
              <a:gdLst/>
              <a:ahLst/>
              <a:cxnLst>
                <a:cxn ang="0">
                  <a:pos x="2851" y="1035"/>
                </a:cxn>
                <a:cxn ang="0">
                  <a:pos x="3588" y="28"/>
                </a:cxn>
                <a:cxn ang="0">
                  <a:pos x="2718" y="826"/>
                </a:cxn>
                <a:cxn ang="0">
                  <a:pos x="1973" y="28"/>
                </a:cxn>
                <a:cxn ang="0">
                  <a:pos x="1663" y="659"/>
                </a:cxn>
                <a:cxn ang="0">
                  <a:pos x="1850" y="28"/>
                </a:cxn>
                <a:cxn ang="0">
                  <a:pos x="1165" y="1000"/>
                </a:cxn>
                <a:cxn ang="0">
                  <a:pos x="1334" y="806"/>
                </a:cxn>
                <a:cxn ang="0">
                  <a:pos x="479" y="1047"/>
                </a:cxn>
                <a:cxn ang="0">
                  <a:pos x="980" y="699"/>
                </a:cxn>
                <a:cxn ang="0">
                  <a:pos x="2747" y="0"/>
                </a:cxn>
                <a:cxn ang="0">
                  <a:pos x="1009" y="0"/>
                </a:cxn>
                <a:cxn ang="0">
                  <a:pos x="665" y="1435"/>
                </a:cxn>
                <a:cxn ang="0">
                  <a:pos x="1150" y="1133"/>
                </a:cxn>
                <a:cxn ang="0">
                  <a:pos x="1980" y="1434"/>
                </a:cxn>
                <a:cxn ang="0">
                  <a:pos x="2963" y="1451"/>
                </a:cxn>
                <a:cxn ang="0">
                  <a:pos x="348" y="2092"/>
                </a:cxn>
                <a:cxn ang="0">
                  <a:pos x="395" y="2104"/>
                </a:cxn>
                <a:cxn ang="0">
                  <a:pos x="880" y="1895"/>
                </a:cxn>
                <a:cxn ang="0">
                  <a:pos x="584" y="1895"/>
                </a:cxn>
                <a:cxn ang="0">
                  <a:pos x="645" y="2088"/>
                </a:cxn>
                <a:cxn ang="0">
                  <a:pos x="813" y="2088"/>
                </a:cxn>
                <a:cxn ang="0">
                  <a:pos x="935" y="1790"/>
                </a:cxn>
                <a:cxn ang="0">
                  <a:pos x="1104" y="1929"/>
                </a:cxn>
                <a:cxn ang="0">
                  <a:pos x="1151" y="1938"/>
                </a:cxn>
                <a:cxn ang="0">
                  <a:pos x="1504" y="2134"/>
                </a:cxn>
                <a:cxn ang="0">
                  <a:pos x="1370" y="2132"/>
                </a:cxn>
                <a:cxn ang="0">
                  <a:pos x="1428" y="1940"/>
                </a:cxn>
                <a:cxn ang="0">
                  <a:pos x="1719" y="1895"/>
                </a:cxn>
                <a:cxn ang="0">
                  <a:pos x="1803" y="2052"/>
                </a:cxn>
                <a:cxn ang="0">
                  <a:pos x="2137" y="1923"/>
                </a:cxn>
                <a:cxn ang="0">
                  <a:pos x="1881" y="2136"/>
                </a:cxn>
                <a:cxn ang="0">
                  <a:pos x="2253" y="2017"/>
                </a:cxn>
                <a:cxn ang="0">
                  <a:pos x="2503" y="1888"/>
                </a:cxn>
                <a:cxn ang="0">
                  <a:pos x="2740" y="2092"/>
                </a:cxn>
                <a:cxn ang="0">
                  <a:pos x="2787" y="2104"/>
                </a:cxn>
                <a:cxn ang="0">
                  <a:pos x="3126" y="2134"/>
                </a:cxn>
                <a:cxn ang="0">
                  <a:pos x="2992" y="2132"/>
                </a:cxn>
                <a:cxn ang="0">
                  <a:pos x="3051" y="1940"/>
                </a:cxn>
                <a:cxn ang="0">
                  <a:pos x="3441" y="1989"/>
                </a:cxn>
                <a:cxn ang="0">
                  <a:pos x="3257" y="1790"/>
                </a:cxn>
                <a:cxn ang="0">
                  <a:pos x="168" y="2120"/>
                </a:cxn>
                <a:cxn ang="0">
                  <a:pos x="3742" y="1935"/>
                </a:cxn>
                <a:cxn ang="0">
                  <a:pos x="3624" y="2110"/>
                </a:cxn>
                <a:cxn ang="0">
                  <a:pos x="3857" y="2017"/>
                </a:cxn>
                <a:cxn ang="0">
                  <a:pos x="4180" y="1894"/>
                </a:cxn>
                <a:cxn ang="0">
                  <a:pos x="4515" y="2136"/>
                </a:cxn>
                <a:cxn ang="0">
                  <a:pos x="4289" y="1939"/>
                </a:cxn>
                <a:cxn ang="0">
                  <a:pos x="4846" y="2010"/>
                </a:cxn>
                <a:cxn ang="0">
                  <a:pos x="4741" y="1935"/>
                </a:cxn>
                <a:cxn ang="0">
                  <a:pos x="4936" y="1789"/>
                </a:cxn>
                <a:cxn ang="0">
                  <a:pos x="5002" y="2021"/>
                </a:cxn>
                <a:cxn ang="0">
                  <a:pos x="5080" y="1988"/>
                </a:cxn>
                <a:cxn ang="0">
                  <a:pos x="5388" y="2136"/>
                </a:cxn>
                <a:cxn ang="0">
                  <a:pos x="5625" y="1893"/>
                </a:cxn>
                <a:cxn ang="0">
                  <a:pos x="5573" y="1790"/>
                </a:cxn>
                <a:cxn ang="0">
                  <a:pos x="5710" y="1848"/>
                </a:cxn>
                <a:cxn ang="0">
                  <a:pos x="5786" y="2086"/>
                </a:cxn>
                <a:cxn ang="0">
                  <a:pos x="5835" y="2229"/>
                </a:cxn>
              </a:cxnLst>
              <a:rect l="0" t="0" r="r" b="b"/>
              <a:pathLst>
                <a:path w="6099" h="2232">
                  <a:moveTo>
                    <a:pt x="3588" y="1105"/>
                  </a:moveTo>
                  <a:cubicBezTo>
                    <a:pt x="3401" y="1105"/>
                    <a:pt x="3401" y="1105"/>
                    <a:pt x="3401" y="1105"/>
                  </a:cubicBezTo>
                  <a:cubicBezTo>
                    <a:pt x="3431" y="981"/>
                    <a:pt x="3431" y="981"/>
                    <a:pt x="3431" y="981"/>
                  </a:cubicBezTo>
                  <a:cubicBezTo>
                    <a:pt x="3055" y="981"/>
                    <a:pt x="3055" y="981"/>
                    <a:pt x="3055" y="981"/>
                  </a:cubicBezTo>
                  <a:cubicBezTo>
                    <a:pt x="3024" y="1105"/>
                    <a:pt x="3024" y="1105"/>
                    <a:pt x="3024" y="1105"/>
                  </a:cubicBezTo>
                  <a:cubicBezTo>
                    <a:pt x="2843" y="1105"/>
                    <a:pt x="2843" y="1105"/>
                    <a:pt x="2843" y="1105"/>
                  </a:cubicBezTo>
                  <a:cubicBezTo>
                    <a:pt x="2843" y="1079"/>
                    <a:pt x="2843" y="1079"/>
                    <a:pt x="2843" y="1079"/>
                  </a:cubicBezTo>
                  <a:cubicBezTo>
                    <a:pt x="2845" y="1065"/>
                    <a:pt x="2848" y="1051"/>
                    <a:pt x="2851" y="1035"/>
                  </a:cubicBezTo>
                  <a:cubicBezTo>
                    <a:pt x="2884" y="901"/>
                    <a:pt x="2972" y="769"/>
                    <a:pt x="3124" y="769"/>
                  </a:cubicBezTo>
                  <a:cubicBezTo>
                    <a:pt x="3185" y="769"/>
                    <a:pt x="3244" y="792"/>
                    <a:pt x="3236" y="875"/>
                  </a:cubicBezTo>
                  <a:cubicBezTo>
                    <a:pt x="3460" y="875"/>
                    <a:pt x="3460" y="875"/>
                    <a:pt x="3460" y="875"/>
                  </a:cubicBezTo>
                  <a:cubicBezTo>
                    <a:pt x="3469" y="836"/>
                    <a:pt x="3484" y="770"/>
                    <a:pt x="3441" y="709"/>
                  </a:cubicBezTo>
                  <a:cubicBezTo>
                    <a:pt x="3394" y="643"/>
                    <a:pt x="3298" y="616"/>
                    <a:pt x="3173" y="616"/>
                  </a:cubicBezTo>
                  <a:cubicBezTo>
                    <a:pt x="3084" y="616"/>
                    <a:pt x="2955" y="631"/>
                    <a:pt x="2843" y="704"/>
                  </a:cubicBezTo>
                  <a:cubicBezTo>
                    <a:pt x="2843" y="28"/>
                    <a:pt x="2843" y="28"/>
                    <a:pt x="2843" y="28"/>
                  </a:cubicBezTo>
                  <a:cubicBezTo>
                    <a:pt x="3588" y="28"/>
                    <a:pt x="3588" y="28"/>
                    <a:pt x="3588" y="28"/>
                  </a:cubicBezTo>
                  <a:lnTo>
                    <a:pt x="3588" y="1105"/>
                  </a:lnTo>
                  <a:close/>
                  <a:moveTo>
                    <a:pt x="3148" y="1287"/>
                  </a:moveTo>
                  <a:cubicBezTo>
                    <a:pt x="3106" y="1294"/>
                    <a:pt x="3063" y="1300"/>
                    <a:pt x="3023" y="1300"/>
                  </a:cubicBezTo>
                  <a:cubicBezTo>
                    <a:pt x="2915" y="1300"/>
                    <a:pt x="2840" y="1250"/>
                    <a:pt x="2839" y="1133"/>
                  </a:cubicBezTo>
                  <a:cubicBezTo>
                    <a:pt x="3186" y="1133"/>
                    <a:pt x="3186" y="1133"/>
                    <a:pt x="3186" y="1133"/>
                  </a:cubicBezTo>
                  <a:lnTo>
                    <a:pt x="3148" y="1287"/>
                  </a:lnTo>
                  <a:close/>
                  <a:moveTo>
                    <a:pt x="2718" y="672"/>
                  </a:moveTo>
                  <a:cubicBezTo>
                    <a:pt x="2718" y="826"/>
                    <a:pt x="2718" y="826"/>
                    <a:pt x="2718" y="826"/>
                  </a:cubicBezTo>
                  <a:cubicBezTo>
                    <a:pt x="2666" y="898"/>
                    <a:pt x="2634" y="976"/>
                    <a:pt x="2619" y="1040"/>
                  </a:cubicBezTo>
                  <a:cubicBezTo>
                    <a:pt x="2613" y="1061"/>
                    <a:pt x="2609" y="1083"/>
                    <a:pt x="2607" y="1105"/>
                  </a:cubicBezTo>
                  <a:cubicBezTo>
                    <a:pt x="2497" y="1105"/>
                    <a:pt x="2497" y="1105"/>
                    <a:pt x="2497" y="1105"/>
                  </a:cubicBezTo>
                  <a:cubicBezTo>
                    <a:pt x="2591" y="660"/>
                    <a:pt x="2591" y="660"/>
                    <a:pt x="2591" y="660"/>
                  </a:cubicBezTo>
                  <a:cubicBezTo>
                    <a:pt x="2276" y="660"/>
                    <a:pt x="2276" y="660"/>
                    <a:pt x="2276" y="660"/>
                  </a:cubicBezTo>
                  <a:cubicBezTo>
                    <a:pt x="1993" y="1105"/>
                    <a:pt x="1993" y="1105"/>
                    <a:pt x="1993" y="1105"/>
                  </a:cubicBezTo>
                  <a:cubicBezTo>
                    <a:pt x="1973" y="1105"/>
                    <a:pt x="1973" y="1105"/>
                    <a:pt x="1973" y="1105"/>
                  </a:cubicBezTo>
                  <a:cubicBezTo>
                    <a:pt x="1973" y="28"/>
                    <a:pt x="1973" y="28"/>
                    <a:pt x="1973" y="28"/>
                  </a:cubicBezTo>
                  <a:cubicBezTo>
                    <a:pt x="2718" y="28"/>
                    <a:pt x="2718" y="28"/>
                    <a:pt x="2718" y="28"/>
                  </a:cubicBezTo>
                  <a:lnTo>
                    <a:pt x="2718" y="672"/>
                  </a:lnTo>
                  <a:close/>
                  <a:moveTo>
                    <a:pt x="2302" y="1105"/>
                  </a:moveTo>
                  <a:cubicBezTo>
                    <a:pt x="2190" y="1105"/>
                    <a:pt x="2190" y="1105"/>
                    <a:pt x="2190" y="1105"/>
                  </a:cubicBezTo>
                  <a:cubicBezTo>
                    <a:pt x="2360" y="838"/>
                    <a:pt x="2360" y="838"/>
                    <a:pt x="2360" y="838"/>
                  </a:cubicBezTo>
                  <a:lnTo>
                    <a:pt x="2302" y="1105"/>
                  </a:lnTo>
                  <a:close/>
                  <a:moveTo>
                    <a:pt x="1850" y="659"/>
                  </a:moveTo>
                  <a:cubicBezTo>
                    <a:pt x="1663" y="659"/>
                    <a:pt x="1663" y="659"/>
                    <a:pt x="1663" y="659"/>
                  </a:cubicBezTo>
                  <a:cubicBezTo>
                    <a:pt x="1535" y="1105"/>
                    <a:pt x="1535" y="1105"/>
                    <a:pt x="1535" y="1105"/>
                  </a:cubicBezTo>
                  <a:cubicBezTo>
                    <a:pt x="1337" y="1105"/>
                    <a:pt x="1337" y="1105"/>
                    <a:pt x="1337" y="1105"/>
                  </a:cubicBezTo>
                  <a:cubicBezTo>
                    <a:pt x="1438" y="1068"/>
                    <a:pt x="1499" y="996"/>
                    <a:pt x="1518" y="890"/>
                  </a:cubicBezTo>
                  <a:cubicBezTo>
                    <a:pt x="1534" y="809"/>
                    <a:pt x="1527" y="755"/>
                    <a:pt x="1493" y="714"/>
                  </a:cubicBezTo>
                  <a:cubicBezTo>
                    <a:pt x="1443" y="654"/>
                    <a:pt x="1342" y="659"/>
                    <a:pt x="1253" y="659"/>
                  </a:cubicBezTo>
                  <a:cubicBezTo>
                    <a:pt x="1237" y="659"/>
                    <a:pt x="1105" y="659"/>
                    <a:pt x="1105" y="659"/>
                  </a:cubicBezTo>
                  <a:cubicBezTo>
                    <a:pt x="1105" y="28"/>
                    <a:pt x="1105" y="28"/>
                    <a:pt x="1105" y="28"/>
                  </a:cubicBezTo>
                  <a:cubicBezTo>
                    <a:pt x="1850" y="28"/>
                    <a:pt x="1850" y="28"/>
                    <a:pt x="1850" y="28"/>
                  </a:cubicBezTo>
                  <a:lnTo>
                    <a:pt x="1850" y="659"/>
                  </a:lnTo>
                  <a:close/>
                  <a:moveTo>
                    <a:pt x="1730" y="1105"/>
                  </a:moveTo>
                  <a:cubicBezTo>
                    <a:pt x="1809" y="826"/>
                    <a:pt x="1809" y="826"/>
                    <a:pt x="1809" y="826"/>
                  </a:cubicBezTo>
                  <a:cubicBezTo>
                    <a:pt x="1812" y="1105"/>
                    <a:pt x="1812" y="1105"/>
                    <a:pt x="1812" y="1105"/>
                  </a:cubicBezTo>
                  <a:lnTo>
                    <a:pt x="1730" y="1105"/>
                  </a:lnTo>
                  <a:close/>
                  <a:moveTo>
                    <a:pt x="1188" y="999"/>
                  </a:moveTo>
                  <a:cubicBezTo>
                    <a:pt x="1187" y="999"/>
                    <a:pt x="1187" y="999"/>
                    <a:pt x="1187" y="999"/>
                  </a:cubicBezTo>
                  <a:cubicBezTo>
                    <a:pt x="1180" y="999"/>
                    <a:pt x="1173" y="1000"/>
                    <a:pt x="1165" y="1000"/>
                  </a:cubicBezTo>
                  <a:cubicBezTo>
                    <a:pt x="1154" y="1000"/>
                    <a:pt x="1145" y="1000"/>
                    <a:pt x="1137" y="1000"/>
                  </a:cubicBezTo>
                  <a:cubicBezTo>
                    <a:pt x="1089" y="1000"/>
                    <a:pt x="1089" y="1000"/>
                    <a:pt x="1089" y="1000"/>
                  </a:cubicBezTo>
                  <a:cubicBezTo>
                    <a:pt x="1111" y="918"/>
                    <a:pt x="1111" y="918"/>
                    <a:pt x="1111" y="918"/>
                  </a:cubicBezTo>
                  <a:cubicBezTo>
                    <a:pt x="1122" y="878"/>
                    <a:pt x="1122" y="878"/>
                    <a:pt x="1122" y="878"/>
                  </a:cubicBezTo>
                  <a:cubicBezTo>
                    <a:pt x="1147" y="783"/>
                    <a:pt x="1147" y="783"/>
                    <a:pt x="1147" y="783"/>
                  </a:cubicBezTo>
                  <a:cubicBezTo>
                    <a:pt x="1158" y="783"/>
                    <a:pt x="1169" y="782"/>
                    <a:pt x="1179" y="782"/>
                  </a:cubicBezTo>
                  <a:cubicBezTo>
                    <a:pt x="1216" y="782"/>
                    <a:pt x="1216" y="782"/>
                    <a:pt x="1216" y="782"/>
                  </a:cubicBezTo>
                  <a:cubicBezTo>
                    <a:pt x="1279" y="782"/>
                    <a:pt x="1319" y="786"/>
                    <a:pt x="1334" y="806"/>
                  </a:cubicBezTo>
                  <a:cubicBezTo>
                    <a:pt x="1345" y="822"/>
                    <a:pt x="1343" y="848"/>
                    <a:pt x="1330" y="888"/>
                  </a:cubicBezTo>
                  <a:cubicBezTo>
                    <a:pt x="1308" y="957"/>
                    <a:pt x="1279" y="992"/>
                    <a:pt x="1188" y="999"/>
                  </a:cubicBezTo>
                  <a:moveTo>
                    <a:pt x="980" y="699"/>
                  </a:moveTo>
                  <a:cubicBezTo>
                    <a:pt x="969" y="737"/>
                    <a:pt x="969" y="737"/>
                    <a:pt x="969" y="737"/>
                  </a:cubicBezTo>
                  <a:cubicBezTo>
                    <a:pt x="862" y="1092"/>
                    <a:pt x="862" y="1092"/>
                    <a:pt x="862" y="1092"/>
                  </a:cubicBezTo>
                  <a:cubicBezTo>
                    <a:pt x="858" y="1105"/>
                    <a:pt x="858" y="1105"/>
                    <a:pt x="858" y="1105"/>
                  </a:cubicBezTo>
                  <a:cubicBezTo>
                    <a:pt x="507" y="1105"/>
                    <a:pt x="507" y="1105"/>
                    <a:pt x="507" y="1105"/>
                  </a:cubicBezTo>
                  <a:cubicBezTo>
                    <a:pt x="479" y="1047"/>
                    <a:pt x="479" y="1047"/>
                    <a:pt x="479" y="1047"/>
                  </a:cubicBezTo>
                  <a:cubicBezTo>
                    <a:pt x="858" y="660"/>
                    <a:pt x="858" y="660"/>
                    <a:pt x="858" y="660"/>
                  </a:cubicBezTo>
                  <a:cubicBezTo>
                    <a:pt x="615" y="660"/>
                    <a:pt x="615" y="660"/>
                    <a:pt x="615" y="660"/>
                  </a:cubicBezTo>
                  <a:cubicBezTo>
                    <a:pt x="319" y="979"/>
                    <a:pt x="319" y="979"/>
                    <a:pt x="319" y="979"/>
                  </a:cubicBezTo>
                  <a:cubicBezTo>
                    <a:pt x="415" y="660"/>
                    <a:pt x="415" y="660"/>
                    <a:pt x="415" y="660"/>
                  </a:cubicBezTo>
                  <a:cubicBezTo>
                    <a:pt x="235" y="660"/>
                    <a:pt x="235" y="660"/>
                    <a:pt x="235" y="660"/>
                  </a:cubicBezTo>
                  <a:cubicBezTo>
                    <a:pt x="235" y="28"/>
                    <a:pt x="235" y="28"/>
                    <a:pt x="235" y="28"/>
                  </a:cubicBezTo>
                  <a:cubicBezTo>
                    <a:pt x="980" y="28"/>
                    <a:pt x="980" y="28"/>
                    <a:pt x="980" y="28"/>
                  </a:cubicBezTo>
                  <a:lnTo>
                    <a:pt x="980" y="699"/>
                  </a:lnTo>
                  <a:close/>
                  <a:moveTo>
                    <a:pt x="281" y="1105"/>
                  </a:moveTo>
                  <a:cubicBezTo>
                    <a:pt x="282" y="1101"/>
                    <a:pt x="282" y="1101"/>
                    <a:pt x="282" y="1101"/>
                  </a:cubicBezTo>
                  <a:cubicBezTo>
                    <a:pt x="285" y="1105"/>
                    <a:pt x="285" y="1105"/>
                    <a:pt x="285" y="1105"/>
                  </a:cubicBezTo>
                  <a:lnTo>
                    <a:pt x="281" y="1105"/>
                  </a:lnTo>
                  <a:close/>
                  <a:moveTo>
                    <a:pt x="2814" y="0"/>
                  </a:moveTo>
                  <a:cubicBezTo>
                    <a:pt x="2814" y="724"/>
                    <a:pt x="2814" y="724"/>
                    <a:pt x="2814" y="724"/>
                  </a:cubicBezTo>
                  <a:cubicBezTo>
                    <a:pt x="2789" y="744"/>
                    <a:pt x="2767" y="765"/>
                    <a:pt x="2747" y="788"/>
                  </a:cubicBezTo>
                  <a:cubicBezTo>
                    <a:pt x="2747" y="0"/>
                    <a:pt x="2747" y="0"/>
                    <a:pt x="2747" y="0"/>
                  </a:cubicBezTo>
                  <a:cubicBezTo>
                    <a:pt x="1945" y="0"/>
                    <a:pt x="1945" y="0"/>
                    <a:pt x="1945" y="0"/>
                  </a:cubicBezTo>
                  <a:cubicBezTo>
                    <a:pt x="1945" y="659"/>
                    <a:pt x="1945" y="659"/>
                    <a:pt x="1945" y="659"/>
                  </a:cubicBezTo>
                  <a:cubicBezTo>
                    <a:pt x="1878" y="659"/>
                    <a:pt x="1878" y="659"/>
                    <a:pt x="1878" y="659"/>
                  </a:cubicBezTo>
                  <a:cubicBezTo>
                    <a:pt x="1878" y="0"/>
                    <a:pt x="1878" y="0"/>
                    <a:pt x="1878" y="0"/>
                  </a:cubicBezTo>
                  <a:cubicBezTo>
                    <a:pt x="1076" y="0"/>
                    <a:pt x="1076" y="0"/>
                    <a:pt x="1076" y="0"/>
                  </a:cubicBezTo>
                  <a:cubicBezTo>
                    <a:pt x="1076" y="660"/>
                    <a:pt x="1076" y="660"/>
                    <a:pt x="1076" y="660"/>
                  </a:cubicBezTo>
                  <a:cubicBezTo>
                    <a:pt x="1009" y="660"/>
                    <a:pt x="1009" y="660"/>
                    <a:pt x="1009" y="660"/>
                  </a:cubicBezTo>
                  <a:cubicBezTo>
                    <a:pt x="1009" y="0"/>
                    <a:pt x="1009" y="0"/>
                    <a:pt x="1009" y="0"/>
                  </a:cubicBezTo>
                  <a:cubicBezTo>
                    <a:pt x="207" y="0"/>
                    <a:pt x="207" y="0"/>
                    <a:pt x="207" y="0"/>
                  </a:cubicBezTo>
                  <a:cubicBezTo>
                    <a:pt x="207" y="753"/>
                    <a:pt x="207" y="753"/>
                    <a:pt x="207" y="753"/>
                  </a:cubicBezTo>
                  <a:cubicBezTo>
                    <a:pt x="2" y="1435"/>
                    <a:pt x="2" y="1435"/>
                    <a:pt x="2" y="1435"/>
                  </a:cubicBezTo>
                  <a:cubicBezTo>
                    <a:pt x="182" y="1435"/>
                    <a:pt x="182" y="1435"/>
                    <a:pt x="182" y="1435"/>
                  </a:cubicBezTo>
                  <a:cubicBezTo>
                    <a:pt x="273" y="1133"/>
                    <a:pt x="273" y="1133"/>
                    <a:pt x="273" y="1133"/>
                  </a:cubicBezTo>
                  <a:cubicBezTo>
                    <a:pt x="299" y="1133"/>
                    <a:pt x="299" y="1133"/>
                    <a:pt x="299" y="1133"/>
                  </a:cubicBezTo>
                  <a:cubicBezTo>
                    <a:pt x="448" y="1435"/>
                    <a:pt x="448" y="1435"/>
                    <a:pt x="448" y="1435"/>
                  </a:cubicBezTo>
                  <a:cubicBezTo>
                    <a:pt x="665" y="1435"/>
                    <a:pt x="665" y="1435"/>
                    <a:pt x="665" y="1435"/>
                  </a:cubicBezTo>
                  <a:cubicBezTo>
                    <a:pt x="520" y="1133"/>
                    <a:pt x="520" y="1133"/>
                    <a:pt x="520" y="1133"/>
                  </a:cubicBezTo>
                  <a:cubicBezTo>
                    <a:pt x="849" y="1133"/>
                    <a:pt x="849" y="1133"/>
                    <a:pt x="849" y="1133"/>
                  </a:cubicBezTo>
                  <a:cubicBezTo>
                    <a:pt x="758" y="1435"/>
                    <a:pt x="758" y="1435"/>
                    <a:pt x="758" y="1435"/>
                  </a:cubicBezTo>
                  <a:cubicBezTo>
                    <a:pt x="955" y="1435"/>
                    <a:pt x="955" y="1435"/>
                    <a:pt x="955" y="1435"/>
                  </a:cubicBezTo>
                  <a:cubicBezTo>
                    <a:pt x="1045" y="1134"/>
                    <a:pt x="1045" y="1134"/>
                    <a:pt x="1045" y="1134"/>
                  </a:cubicBezTo>
                  <a:cubicBezTo>
                    <a:pt x="1088" y="1134"/>
                    <a:pt x="1088" y="1134"/>
                    <a:pt x="1088" y="1134"/>
                  </a:cubicBezTo>
                  <a:cubicBezTo>
                    <a:pt x="1088" y="1133"/>
                    <a:pt x="1088" y="1133"/>
                    <a:pt x="1088" y="1133"/>
                  </a:cubicBezTo>
                  <a:cubicBezTo>
                    <a:pt x="1150" y="1133"/>
                    <a:pt x="1150" y="1133"/>
                    <a:pt x="1150" y="1133"/>
                  </a:cubicBezTo>
                  <a:cubicBezTo>
                    <a:pt x="1155" y="1133"/>
                    <a:pt x="1155" y="1133"/>
                    <a:pt x="1155" y="1133"/>
                  </a:cubicBezTo>
                  <a:cubicBezTo>
                    <a:pt x="1527" y="1133"/>
                    <a:pt x="1527" y="1133"/>
                    <a:pt x="1527" y="1133"/>
                  </a:cubicBezTo>
                  <a:cubicBezTo>
                    <a:pt x="1440" y="1434"/>
                    <a:pt x="1440" y="1434"/>
                    <a:pt x="1440" y="1434"/>
                  </a:cubicBezTo>
                  <a:cubicBezTo>
                    <a:pt x="1638" y="1434"/>
                    <a:pt x="1638" y="1434"/>
                    <a:pt x="1638" y="1434"/>
                  </a:cubicBezTo>
                  <a:cubicBezTo>
                    <a:pt x="1722" y="1133"/>
                    <a:pt x="1722" y="1133"/>
                    <a:pt x="1722" y="1133"/>
                  </a:cubicBezTo>
                  <a:cubicBezTo>
                    <a:pt x="1812" y="1133"/>
                    <a:pt x="1812" y="1133"/>
                    <a:pt x="1812" y="1133"/>
                  </a:cubicBezTo>
                  <a:cubicBezTo>
                    <a:pt x="1814" y="1434"/>
                    <a:pt x="1814" y="1434"/>
                    <a:pt x="1814" y="1434"/>
                  </a:cubicBezTo>
                  <a:cubicBezTo>
                    <a:pt x="1980" y="1434"/>
                    <a:pt x="1980" y="1434"/>
                    <a:pt x="1980" y="1434"/>
                  </a:cubicBezTo>
                  <a:cubicBezTo>
                    <a:pt x="2171" y="1133"/>
                    <a:pt x="2171" y="1133"/>
                    <a:pt x="2171" y="1133"/>
                  </a:cubicBezTo>
                  <a:cubicBezTo>
                    <a:pt x="2296" y="1133"/>
                    <a:pt x="2296" y="1133"/>
                    <a:pt x="2296" y="1133"/>
                  </a:cubicBezTo>
                  <a:cubicBezTo>
                    <a:pt x="2232" y="1434"/>
                    <a:pt x="2232" y="1434"/>
                    <a:pt x="2232" y="1434"/>
                  </a:cubicBezTo>
                  <a:cubicBezTo>
                    <a:pt x="2427" y="1434"/>
                    <a:pt x="2427" y="1434"/>
                    <a:pt x="2427" y="1434"/>
                  </a:cubicBezTo>
                  <a:cubicBezTo>
                    <a:pt x="2491" y="1133"/>
                    <a:pt x="2491" y="1133"/>
                    <a:pt x="2491" y="1133"/>
                  </a:cubicBezTo>
                  <a:cubicBezTo>
                    <a:pt x="2604" y="1133"/>
                    <a:pt x="2604" y="1133"/>
                    <a:pt x="2604" y="1133"/>
                  </a:cubicBezTo>
                  <a:cubicBezTo>
                    <a:pt x="2599" y="1226"/>
                    <a:pt x="2623" y="1311"/>
                    <a:pt x="2685" y="1368"/>
                  </a:cubicBezTo>
                  <a:cubicBezTo>
                    <a:pt x="2761" y="1438"/>
                    <a:pt x="2877" y="1451"/>
                    <a:pt x="2963" y="1451"/>
                  </a:cubicBezTo>
                  <a:cubicBezTo>
                    <a:pt x="3081" y="1451"/>
                    <a:pt x="3203" y="1434"/>
                    <a:pt x="3326" y="1407"/>
                  </a:cubicBezTo>
                  <a:cubicBezTo>
                    <a:pt x="3394" y="1133"/>
                    <a:pt x="3394" y="1133"/>
                    <a:pt x="3394" y="1133"/>
                  </a:cubicBezTo>
                  <a:cubicBezTo>
                    <a:pt x="3617" y="1133"/>
                    <a:pt x="3617" y="1133"/>
                    <a:pt x="3617" y="1133"/>
                  </a:cubicBezTo>
                  <a:cubicBezTo>
                    <a:pt x="3617" y="0"/>
                    <a:pt x="3617" y="0"/>
                    <a:pt x="3617" y="0"/>
                  </a:cubicBezTo>
                  <a:lnTo>
                    <a:pt x="2814" y="0"/>
                  </a:lnTo>
                  <a:close/>
                  <a:moveTo>
                    <a:pt x="351" y="1894"/>
                  </a:moveTo>
                  <a:cubicBezTo>
                    <a:pt x="321" y="2038"/>
                    <a:pt x="321" y="2038"/>
                    <a:pt x="321" y="2038"/>
                  </a:cubicBezTo>
                  <a:cubicBezTo>
                    <a:pt x="316" y="2060"/>
                    <a:pt x="309" y="2092"/>
                    <a:pt x="348" y="2092"/>
                  </a:cubicBezTo>
                  <a:cubicBezTo>
                    <a:pt x="393" y="2092"/>
                    <a:pt x="400" y="2058"/>
                    <a:pt x="409" y="2016"/>
                  </a:cubicBezTo>
                  <a:cubicBezTo>
                    <a:pt x="435" y="1894"/>
                    <a:pt x="435" y="1894"/>
                    <a:pt x="435" y="1894"/>
                  </a:cubicBezTo>
                  <a:cubicBezTo>
                    <a:pt x="508" y="1894"/>
                    <a:pt x="508" y="1894"/>
                    <a:pt x="508" y="1894"/>
                  </a:cubicBezTo>
                  <a:cubicBezTo>
                    <a:pt x="474" y="2053"/>
                    <a:pt x="474" y="2053"/>
                    <a:pt x="474" y="2053"/>
                  </a:cubicBezTo>
                  <a:cubicBezTo>
                    <a:pt x="464" y="2106"/>
                    <a:pt x="463" y="2112"/>
                    <a:pt x="462" y="2118"/>
                  </a:cubicBezTo>
                  <a:cubicBezTo>
                    <a:pt x="461" y="2125"/>
                    <a:pt x="460" y="2130"/>
                    <a:pt x="460" y="2136"/>
                  </a:cubicBezTo>
                  <a:cubicBezTo>
                    <a:pt x="391" y="2136"/>
                    <a:pt x="391" y="2136"/>
                    <a:pt x="391" y="2136"/>
                  </a:cubicBezTo>
                  <a:cubicBezTo>
                    <a:pt x="395" y="2104"/>
                    <a:pt x="395" y="2104"/>
                    <a:pt x="395" y="2104"/>
                  </a:cubicBezTo>
                  <a:cubicBezTo>
                    <a:pt x="386" y="2115"/>
                    <a:pt x="362" y="2143"/>
                    <a:pt x="315" y="2143"/>
                  </a:cubicBezTo>
                  <a:cubicBezTo>
                    <a:pt x="283" y="2143"/>
                    <a:pt x="259" y="2128"/>
                    <a:pt x="250" y="2110"/>
                  </a:cubicBezTo>
                  <a:cubicBezTo>
                    <a:pt x="238" y="2090"/>
                    <a:pt x="245" y="2056"/>
                    <a:pt x="248" y="2045"/>
                  </a:cubicBezTo>
                  <a:cubicBezTo>
                    <a:pt x="279" y="1894"/>
                    <a:pt x="279" y="1894"/>
                    <a:pt x="279" y="1894"/>
                  </a:cubicBezTo>
                  <a:lnTo>
                    <a:pt x="351" y="1894"/>
                  </a:lnTo>
                  <a:close/>
                  <a:moveTo>
                    <a:pt x="812" y="1942"/>
                  </a:moveTo>
                  <a:cubicBezTo>
                    <a:pt x="870" y="1942"/>
                    <a:pt x="870" y="1942"/>
                    <a:pt x="870" y="1942"/>
                  </a:cubicBezTo>
                  <a:cubicBezTo>
                    <a:pt x="880" y="1895"/>
                    <a:pt x="880" y="1895"/>
                    <a:pt x="880" y="1895"/>
                  </a:cubicBezTo>
                  <a:cubicBezTo>
                    <a:pt x="822" y="1895"/>
                    <a:pt x="822" y="1895"/>
                    <a:pt x="822" y="1895"/>
                  </a:cubicBezTo>
                  <a:cubicBezTo>
                    <a:pt x="838" y="1822"/>
                    <a:pt x="838" y="1822"/>
                    <a:pt x="838" y="1822"/>
                  </a:cubicBezTo>
                  <a:cubicBezTo>
                    <a:pt x="762" y="1848"/>
                    <a:pt x="762" y="1848"/>
                    <a:pt x="762" y="1848"/>
                  </a:cubicBezTo>
                  <a:cubicBezTo>
                    <a:pt x="752" y="1895"/>
                    <a:pt x="752" y="1895"/>
                    <a:pt x="752" y="1895"/>
                  </a:cubicBezTo>
                  <a:cubicBezTo>
                    <a:pt x="654" y="1895"/>
                    <a:pt x="654" y="1895"/>
                    <a:pt x="654" y="1895"/>
                  </a:cubicBezTo>
                  <a:cubicBezTo>
                    <a:pt x="670" y="1822"/>
                    <a:pt x="670" y="1822"/>
                    <a:pt x="670" y="1822"/>
                  </a:cubicBezTo>
                  <a:cubicBezTo>
                    <a:pt x="594" y="1848"/>
                    <a:pt x="594" y="1848"/>
                    <a:pt x="594" y="1848"/>
                  </a:cubicBezTo>
                  <a:cubicBezTo>
                    <a:pt x="584" y="1895"/>
                    <a:pt x="584" y="1895"/>
                    <a:pt x="584" y="1895"/>
                  </a:cubicBezTo>
                  <a:cubicBezTo>
                    <a:pt x="537" y="1895"/>
                    <a:pt x="537" y="1895"/>
                    <a:pt x="537" y="1895"/>
                  </a:cubicBezTo>
                  <a:cubicBezTo>
                    <a:pt x="527" y="1942"/>
                    <a:pt x="527" y="1942"/>
                    <a:pt x="527" y="1942"/>
                  </a:cubicBezTo>
                  <a:cubicBezTo>
                    <a:pt x="574" y="1942"/>
                    <a:pt x="574" y="1942"/>
                    <a:pt x="574" y="1942"/>
                  </a:cubicBezTo>
                  <a:cubicBezTo>
                    <a:pt x="545" y="2075"/>
                    <a:pt x="545" y="2075"/>
                    <a:pt x="545" y="2075"/>
                  </a:cubicBezTo>
                  <a:cubicBezTo>
                    <a:pt x="541" y="2095"/>
                    <a:pt x="531" y="2141"/>
                    <a:pt x="603" y="2141"/>
                  </a:cubicBezTo>
                  <a:cubicBezTo>
                    <a:pt x="615" y="2141"/>
                    <a:pt x="636" y="2139"/>
                    <a:pt x="660" y="2133"/>
                  </a:cubicBezTo>
                  <a:cubicBezTo>
                    <a:pt x="670" y="2086"/>
                    <a:pt x="670" y="2086"/>
                    <a:pt x="670" y="2086"/>
                  </a:cubicBezTo>
                  <a:cubicBezTo>
                    <a:pt x="661" y="2087"/>
                    <a:pt x="656" y="2088"/>
                    <a:pt x="645" y="2088"/>
                  </a:cubicBezTo>
                  <a:cubicBezTo>
                    <a:pt x="614" y="2088"/>
                    <a:pt x="617" y="2074"/>
                    <a:pt x="621" y="2052"/>
                  </a:cubicBezTo>
                  <a:cubicBezTo>
                    <a:pt x="645" y="1942"/>
                    <a:pt x="645" y="1942"/>
                    <a:pt x="645" y="1942"/>
                  </a:cubicBezTo>
                  <a:cubicBezTo>
                    <a:pt x="741" y="1942"/>
                    <a:pt x="741" y="1942"/>
                    <a:pt x="741" y="1942"/>
                  </a:cubicBezTo>
                  <a:cubicBezTo>
                    <a:pt x="713" y="2075"/>
                    <a:pt x="713" y="2075"/>
                    <a:pt x="713" y="2075"/>
                  </a:cubicBezTo>
                  <a:cubicBezTo>
                    <a:pt x="709" y="2095"/>
                    <a:pt x="699" y="2141"/>
                    <a:pt x="771" y="2141"/>
                  </a:cubicBezTo>
                  <a:cubicBezTo>
                    <a:pt x="782" y="2141"/>
                    <a:pt x="804" y="2139"/>
                    <a:pt x="828" y="2133"/>
                  </a:cubicBezTo>
                  <a:cubicBezTo>
                    <a:pt x="838" y="2086"/>
                    <a:pt x="838" y="2086"/>
                    <a:pt x="838" y="2086"/>
                  </a:cubicBezTo>
                  <a:cubicBezTo>
                    <a:pt x="829" y="2087"/>
                    <a:pt x="824" y="2088"/>
                    <a:pt x="813" y="2088"/>
                  </a:cubicBezTo>
                  <a:cubicBezTo>
                    <a:pt x="781" y="2088"/>
                    <a:pt x="785" y="2074"/>
                    <a:pt x="788" y="2052"/>
                  </a:cubicBezTo>
                  <a:lnTo>
                    <a:pt x="812" y="1942"/>
                  </a:lnTo>
                  <a:close/>
                  <a:moveTo>
                    <a:pt x="916" y="1893"/>
                  </a:moveTo>
                  <a:cubicBezTo>
                    <a:pt x="987" y="1893"/>
                    <a:pt x="987" y="1893"/>
                    <a:pt x="987" y="1893"/>
                  </a:cubicBezTo>
                  <a:cubicBezTo>
                    <a:pt x="935" y="2136"/>
                    <a:pt x="935" y="2136"/>
                    <a:pt x="935" y="2136"/>
                  </a:cubicBezTo>
                  <a:cubicBezTo>
                    <a:pt x="864" y="2136"/>
                    <a:pt x="864" y="2136"/>
                    <a:pt x="864" y="2136"/>
                  </a:cubicBezTo>
                  <a:lnTo>
                    <a:pt x="916" y="1893"/>
                  </a:lnTo>
                  <a:close/>
                  <a:moveTo>
                    <a:pt x="935" y="1790"/>
                  </a:moveTo>
                  <a:cubicBezTo>
                    <a:pt x="1011" y="1790"/>
                    <a:pt x="1011" y="1790"/>
                    <a:pt x="1011" y="1790"/>
                  </a:cubicBezTo>
                  <a:cubicBezTo>
                    <a:pt x="998" y="1851"/>
                    <a:pt x="998" y="1851"/>
                    <a:pt x="998" y="1851"/>
                  </a:cubicBezTo>
                  <a:cubicBezTo>
                    <a:pt x="922" y="1851"/>
                    <a:pt x="922" y="1851"/>
                    <a:pt x="922" y="1851"/>
                  </a:cubicBezTo>
                  <a:lnTo>
                    <a:pt x="935" y="1790"/>
                  </a:lnTo>
                  <a:close/>
                  <a:moveTo>
                    <a:pt x="1034" y="1937"/>
                  </a:moveTo>
                  <a:cubicBezTo>
                    <a:pt x="1034" y="1936"/>
                    <a:pt x="1040" y="1909"/>
                    <a:pt x="1042" y="1893"/>
                  </a:cubicBezTo>
                  <a:cubicBezTo>
                    <a:pt x="1110" y="1893"/>
                    <a:pt x="1110" y="1893"/>
                    <a:pt x="1110" y="1893"/>
                  </a:cubicBezTo>
                  <a:cubicBezTo>
                    <a:pt x="1104" y="1929"/>
                    <a:pt x="1104" y="1929"/>
                    <a:pt x="1104" y="1929"/>
                  </a:cubicBezTo>
                  <a:cubicBezTo>
                    <a:pt x="1113" y="1918"/>
                    <a:pt x="1139" y="1887"/>
                    <a:pt x="1192" y="1887"/>
                  </a:cubicBezTo>
                  <a:cubicBezTo>
                    <a:pt x="1239" y="1887"/>
                    <a:pt x="1254" y="1916"/>
                    <a:pt x="1256" y="1933"/>
                  </a:cubicBezTo>
                  <a:cubicBezTo>
                    <a:pt x="1259" y="1948"/>
                    <a:pt x="1257" y="1960"/>
                    <a:pt x="1248" y="2005"/>
                  </a:cubicBezTo>
                  <a:cubicBezTo>
                    <a:pt x="1220" y="2136"/>
                    <a:pt x="1220" y="2136"/>
                    <a:pt x="1220" y="2136"/>
                  </a:cubicBezTo>
                  <a:cubicBezTo>
                    <a:pt x="1147" y="2136"/>
                    <a:pt x="1147" y="2136"/>
                    <a:pt x="1147" y="2136"/>
                  </a:cubicBezTo>
                  <a:cubicBezTo>
                    <a:pt x="1179" y="1985"/>
                    <a:pt x="1179" y="1985"/>
                    <a:pt x="1179" y="1985"/>
                  </a:cubicBezTo>
                  <a:cubicBezTo>
                    <a:pt x="1181" y="1975"/>
                    <a:pt x="1183" y="1967"/>
                    <a:pt x="1181" y="1959"/>
                  </a:cubicBezTo>
                  <a:cubicBezTo>
                    <a:pt x="1178" y="1949"/>
                    <a:pt x="1169" y="1938"/>
                    <a:pt x="1151" y="1938"/>
                  </a:cubicBezTo>
                  <a:cubicBezTo>
                    <a:pt x="1136" y="1938"/>
                    <a:pt x="1120" y="1946"/>
                    <a:pt x="1110" y="1957"/>
                  </a:cubicBezTo>
                  <a:cubicBezTo>
                    <a:pt x="1104" y="1963"/>
                    <a:pt x="1097" y="1975"/>
                    <a:pt x="1093" y="1994"/>
                  </a:cubicBezTo>
                  <a:cubicBezTo>
                    <a:pt x="1063" y="2136"/>
                    <a:pt x="1063" y="2136"/>
                    <a:pt x="1063" y="2136"/>
                  </a:cubicBezTo>
                  <a:cubicBezTo>
                    <a:pt x="992" y="2136"/>
                    <a:pt x="992" y="2136"/>
                    <a:pt x="992" y="2136"/>
                  </a:cubicBezTo>
                  <a:lnTo>
                    <a:pt x="1034" y="1937"/>
                  </a:lnTo>
                  <a:close/>
                  <a:moveTo>
                    <a:pt x="1558" y="1895"/>
                  </a:moveTo>
                  <a:cubicBezTo>
                    <a:pt x="1552" y="1914"/>
                    <a:pt x="1547" y="1930"/>
                    <a:pt x="1542" y="1955"/>
                  </a:cubicBezTo>
                  <a:cubicBezTo>
                    <a:pt x="1504" y="2134"/>
                    <a:pt x="1504" y="2134"/>
                    <a:pt x="1504" y="2134"/>
                  </a:cubicBezTo>
                  <a:cubicBezTo>
                    <a:pt x="1486" y="2223"/>
                    <a:pt x="1409" y="2232"/>
                    <a:pt x="1363" y="2232"/>
                  </a:cubicBezTo>
                  <a:cubicBezTo>
                    <a:pt x="1328" y="2232"/>
                    <a:pt x="1261" y="2228"/>
                    <a:pt x="1272" y="2154"/>
                  </a:cubicBezTo>
                  <a:cubicBezTo>
                    <a:pt x="1340" y="2154"/>
                    <a:pt x="1340" y="2154"/>
                    <a:pt x="1340" y="2154"/>
                  </a:cubicBezTo>
                  <a:cubicBezTo>
                    <a:pt x="1340" y="2158"/>
                    <a:pt x="1339" y="2166"/>
                    <a:pt x="1344" y="2174"/>
                  </a:cubicBezTo>
                  <a:cubicBezTo>
                    <a:pt x="1348" y="2181"/>
                    <a:pt x="1357" y="2188"/>
                    <a:pt x="1375" y="2188"/>
                  </a:cubicBezTo>
                  <a:cubicBezTo>
                    <a:pt x="1397" y="2188"/>
                    <a:pt x="1417" y="2178"/>
                    <a:pt x="1427" y="2156"/>
                  </a:cubicBezTo>
                  <a:cubicBezTo>
                    <a:pt x="1432" y="2144"/>
                    <a:pt x="1434" y="2135"/>
                    <a:pt x="1442" y="2099"/>
                  </a:cubicBezTo>
                  <a:cubicBezTo>
                    <a:pt x="1413" y="2128"/>
                    <a:pt x="1387" y="2132"/>
                    <a:pt x="1370" y="2132"/>
                  </a:cubicBezTo>
                  <a:cubicBezTo>
                    <a:pt x="1300" y="2132"/>
                    <a:pt x="1280" y="2071"/>
                    <a:pt x="1293" y="2012"/>
                  </a:cubicBezTo>
                  <a:cubicBezTo>
                    <a:pt x="1306" y="1951"/>
                    <a:pt x="1352" y="1892"/>
                    <a:pt x="1422" y="1892"/>
                  </a:cubicBezTo>
                  <a:cubicBezTo>
                    <a:pt x="1466" y="1892"/>
                    <a:pt x="1477" y="1916"/>
                    <a:pt x="1482" y="1927"/>
                  </a:cubicBezTo>
                  <a:cubicBezTo>
                    <a:pt x="1492" y="1895"/>
                    <a:pt x="1492" y="1895"/>
                    <a:pt x="1492" y="1895"/>
                  </a:cubicBezTo>
                  <a:lnTo>
                    <a:pt x="1558" y="1895"/>
                  </a:lnTo>
                  <a:close/>
                  <a:moveTo>
                    <a:pt x="1397" y="2083"/>
                  </a:moveTo>
                  <a:cubicBezTo>
                    <a:pt x="1447" y="2083"/>
                    <a:pt x="1459" y="2025"/>
                    <a:pt x="1461" y="2014"/>
                  </a:cubicBezTo>
                  <a:cubicBezTo>
                    <a:pt x="1467" y="1986"/>
                    <a:pt x="1472" y="1940"/>
                    <a:pt x="1428" y="1940"/>
                  </a:cubicBezTo>
                  <a:cubicBezTo>
                    <a:pt x="1401" y="1940"/>
                    <a:pt x="1375" y="1960"/>
                    <a:pt x="1364" y="2012"/>
                  </a:cubicBezTo>
                  <a:cubicBezTo>
                    <a:pt x="1362" y="2025"/>
                    <a:pt x="1349" y="2083"/>
                    <a:pt x="1397" y="2083"/>
                  </a:cubicBezTo>
                  <a:moveTo>
                    <a:pt x="1842" y="2133"/>
                  </a:moveTo>
                  <a:cubicBezTo>
                    <a:pt x="1818" y="2139"/>
                    <a:pt x="1797" y="2141"/>
                    <a:pt x="1786" y="2141"/>
                  </a:cubicBezTo>
                  <a:cubicBezTo>
                    <a:pt x="1714" y="2141"/>
                    <a:pt x="1723" y="2095"/>
                    <a:pt x="1728" y="2075"/>
                  </a:cubicBezTo>
                  <a:cubicBezTo>
                    <a:pt x="1756" y="1942"/>
                    <a:pt x="1756" y="1942"/>
                    <a:pt x="1756" y="1942"/>
                  </a:cubicBezTo>
                  <a:cubicBezTo>
                    <a:pt x="1710" y="1942"/>
                    <a:pt x="1710" y="1942"/>
                    <a:pt x="1710" y="1942"/>
                  </a:cubicBezTo>
                  <a:cubicBezTo>
                    <a:pt x="1719" y="1895"/>
                    <a:pt x="1719" y="1895"/>
                    <a:pt x="1719" y="1895"/>
                  </a:cubicBezTo>
                  <a:cubicBezTo>
                    <a:pt x="1766" y="1895"/>
                    <a:pt x="1766" y="1895"/>
                    <a:pt x="1766" y="1895"/>
                  </a:cubicBezTo>
                  <a:cubicBezTo>
                    <a:pt x="1776" y="1848"/>
                    <a:pt x="1776" y="1848"/>
                    <a:pt x="1776" y="1848"/>
                  </a:cubicBezTo>
                  <a:cubicBezTo>
                    <a:pt x="1852" y="1822"/>
                    <a:pt x="1852" y="1822"/>
                    <a:pt x="1852" y="1822"/>
                  </a:cubicBezTo>
                  <a:cubicBezTo>
                    <a:pt x="1837" y="1895"/>
                    <a:pt x="1837" y="1895"/>
                    <a:pt x="1837" y="1895"/>
                  </a:cubicBezTo>
                  <a:cubicBezTo>
                    <a:pt x="1895" y="1895"/>
                    <a:pt x="1895" y="1895"/>
                    <a:pt x="1895" y="1895"/>
                  </a:cubicBezTo>
                  <a:cubicBezTo>
                    <a:pt x="1884" y="1942"/>
                    <a:pt x="1884" y="1942"/>
                    <a:pt x="1884" y="1942"/>
                  </a:cubicBezTo>
                  <a:cubicBezTo>
                    <a:pt x="1827" y="1942"/>
                    <a:pt x="1827" y="1942"/>
                    <a:pt x="1827" y="1942"/>
                  </a:cubicBezTo>
                  <a:cubicBezTo>
                    <a:pt x="1803" y="2052"/>
                    <a:pt x="1803" y="2052"/>
                    <a:pt x="1803" y="2052"/>
                  </a:cubicBezTo>
                  <a:cubicBezTo>
                    <a:pt x="1799" y="2074"/>
                    <a:pt x="1796" y="2088"/>
                    <a:pt x="1828" y="2088"/>
                  </a:cubicBezTo>
                  <a:cubicBezTo>
                    <a:pt x="1838" y="2088"/>
                    <a:pt x="1844" y="2087"/>
                    <a:pt x="1852" y="2086"/>
                  </a:cubicBezTo>
                  <a:lnTo>
                    <a:pt x="1842" y="2133"/>
                  </a:lnTo>
                  <a:close/>
                  <a:moveTo>
                    <a:pt x="1954" y="1790"/>
                  </a:moveTo>
                  <a:cubicBezTo>
                    <a:pt x="2025" y="1790"/>
                    <a:pt x="2025" y="1790"/>
                    <a:pt x="2025" y="1790"/>
                  </a:cubicBezTo>
                  <a:cubicBezTo>
                    <a:pt x="1996" y="1927"/>
                    <a:pt x="1996" y="1927"/>
                    <a:pt x="1996" y="1927"/>
                  </a:cubicBezTo>
                  <a:cubicBezTo>
                    <a:pt x="2007" y="1915"/>
                    <a:pt x="2030" y="1890"/>
                    <a:pt x="2074" y="1890"/>
                  </a:cubicBezTo>
                  <a:cubicBezTo>
                    <a:pt x="2110" y="1890"/>
                    <a:pt x="2129" y="1908"/>
                    <a:pt x="2137" y="1923"/>
                  </a:cubicBezTo>
                  <a:cubicBezTo>
                    <a:pt x="2143" y="1935"/>
                    <a:pt x="2146" y="1957"/>
                    <a:pt x="2139" y="1989"/>
                  </a:cubicBezTo>
                  <a:cubicBezTo>
                    <a:pt x="2108" y="2136"/>
                    <a:pt x="2108" y="2136"/>
                    <a:pt x="2108" y="2136"/>
                  </a:cubicBezTo>
                  <a:cubicBezTo>
                    <a:pt x="2037" y="2136"/>
                    <a:pt x="2037" y="2136"/>
                    <a:pt x="2037" y="2136"/>
                  </a:cubicBezTo>
                  <a:cubicBezTo>
                    <a:pt x="2068" y="1991"/>
                    <a:pt x="2068" y="1991"/>
                    <a:pt x="2068" y="1991"/>
                  </a:cubicBezTo>
                  <a:cubicBezTo>
                    <a:pt x="2071" y="1977"/>
                    <a:pt x="2079" y="1938"/>
                    <a:pt x="2040" y="1938"/>
                  </a:cubicBezTo>
                  <a:cubicBezTo>
                    <a:pt x="2019" y="1938"/>
                    <a:pt x="1991" y="1950"/>
                    <a:pt x="1983" y="1988"/>
                  </a:cubicBezTo>
                  <a:cubicBezTo>
                    <a:pt x="1952" y="2136"/>
                    <a:pt x="1952" y="2136"/>
                    <a:pt x="1952" y="2136"/>
                  </a:cubicBezTo>
                  <a:cubicBezTo>
                    <a:pt x="1881" y="2136"/>
                    <a:pt x="1881" y="2136"/>
                    <a:pt x="1881" y="2136"/>
                  </a:cubicBezTo>
                  <a:lnTo>
                    <a:pt x="1954" y="1790"/>
                  </a:lnTo>
                  <a:close/>
                  <a:moveTo>
                    <a:pt x="2195" y="1953"/>
                  </a:moveTo>
                  <a:cubicBezTo>
                    <a:pt x="2197" y="1942"/>
                    <a:pt x="2203" y="1906"/>
                    <a:pt x="2205" y="1893"/>
                  </a:cubicBezTo>
                  <a:cubicBezTo>
                    <a:pt x="2271" y="1893"/>
                    <a:pt x="2271" y="1893"/>
                    <a:pt x="2271" y="1893"/>
                  </a:cubicBezTo>
                  <a:cubicBezTo>
                    <a:pt x="2263" y="1939"/>
                    <a:pt x="2263" y="1939"/>
                    <a:pt x="2263" y="1939"/>
                  </a:cubicBezTo>
                  <a:cubicBezTo>
                    <a:pt x="2276" y="1919"/>
                    <a:pt x="2298" y="1889"/>
                    <a:pt x="2356" y="1892"/>
                  </a:cubicBezTo>
                  <a:cubicBezTo>
                    <a:pt x="2342" y="1956"/>
                    <a:pt x="2342" y="1956"/>
                    <a:pt x="2342" y="1956"/>
                  </a:cubicBezTo>
                  <a:cubicBezTo>
                    <a:pt x="2271" y="1949"/>
                    <a:pt x="2259" y="1986"/>
                    <a:pt x="2253" y="2017"/>
                  </a:cubicBezTo>
                  <a:cubicBezTo>
                    <a:pt x="2227" y="2136"/>
                    <a:pt x="2227" y="2136"/>
                    <a:pt x="2227" y="2136"/>
                  </a:cubicBezTo>
                  <a:cubicBezTo>
                    <a:pt x="2156" y="2136"/>
                    <a:pt x="2156" y="2136"/>
                    <a:pt x="2156" y="2136"/>
                  </a:cubicBezTo>
                  <a:lnTo>
                    <a:pt x="2195" y="1953"/>
                  </a:lnTo>
                  <a:close/>
                  <a:moveTo>
                    <a:pt x="2503" y="1888"/>
                  </a:moveTo>
                  <a:cubicBezTo>
                    <a:pt x="2591" y="1888"/>
                    <a:pt x="2617" y="1948"/>
                    <a:pt x="2602" y="2015"/>
                  </a:cubicBezTo>
                  <a:cubicBezTo>
                    <a:pt x="2587" y="2083"/>
                    <a:pt x="2535" y="2145"/>
                    <a:pt x="2447" y="2145"/>
                  </a:cubicBezTo>
                  <a:cubicBezTo>
                    <a:pt x="2378" y="2145"/>
                    <a:pt x="2332" y="2102"/>
                    <a:pt x="2350" y="2017"/>
                  </a:cubicBezTo>
                  <a:cubicBezTo>
                    <a:pt x="2362" y="1959"/>
                    <a:pt x="2408" y="1888"/>
                    <a:pt x="2503" y="1888"/>
                  </a:cubicBezTo>
                  <a:moveTo>
                    <a:pt x="2460" y="2095"/>
                  </a:moveTo>
                  <a:cubicBezTo>
                    <a:pt x="2491" y="2095"/>
                    <a:pt x="2516" y="2077"/>
                    <a:pt x="2530" y="2012"/>
                  </a:cubicBezTo>
                  <a:cubicBezTo>
                    <a:pt x="2537" y="1980"/>
                    <a:pt x="2540" y="1935"/>
                    <a:pt x="2493" y="1935"/>
                  </a:cubicBezTo>
                  <a:cubicBezTo>
                    <a:pt x="2441" y="1935"/>
                    <a:pt x="2427" y="1995"/>
                    <a:pt x="2423" y="2018"/>
                  </a:cubicBezTo>
                  <a:cubicBezTo>
                    <a:pt x="2411" y="2072"/>
                    <a:pt x="2425" y="2095"/>
                    <a:pt x="2460" y="2095"/>
                  </a:cubicBezTo>
                  <a:moveTo>
                    <a:pt x="2743" y="1894"/>
                  </a:moveTo>
                  <a:cubicBezTo>
                    <a:pt x="2713" y="2038"/>
                    <a:pt x="2713" y="2038"/>
                    <a:pt x="2713" y="2038"/>
                  </a:cubicBezTo>
                  <a:cubicBezTo>
                    <a:pt x="2708" y="2060"/>
                    <a:pt x="2701" y="2092"/>
                    <a:pt x="2740" y="2092"/>
                  </a:cubicBezTo>
                  <a:cubicBezTo>
                    <a:pt x="2785" y="2092"/>
                    <a:pt x="2792" y="2058"/>
                    <a:pt x="2801" y="2016"/>
                  </a:cubicBezTo>
                  <a:cubicBezTo>
                    <a:pt x="2827" y="1894"/>
                    <a:pt x="2827" y="1894"/>
                    <a:pt x="2827" y="1894"/>
                  </a:cubicBezTo>
                  <a:cubicBezTo>
                    <a:pt x="2900" y="1894"/>
                    <a:pt x="2900" y="1894"/>
                    <a:pt x="2900" y="1894"/>
                  </a:cubicBezTo>
                  <a:cubicBezTo>
                    <a:pt x="2867" y="2053"/>
                    <a:pt x="2867" y="2053"/>
                    <a:pt x="2867" y="2053"/>
                  </a:cubicBezTo>
                  <a:cubicBezTo>
                    <a:pt x="2856" y="2106"/>
                    <a:pt x="2855" y="2112"/>
                    <a:pt x="2854" y="2118"/>
                  </a:cubicBezTo>
                  <a:cubicBezTo>
                    <a:pt x="2853" y="2125"/>
                    <a:pt x="2852" y="2130"/>
                    <a:pt x="2852" y="2136"/>
                  </a:cubicBezTo>
                  <a:cubicBezTo>
                    <a:pt x="2783" y="2136"/>
                    <a:pt x="2783" y="2136"/>
                    <a:pt x="2783" y="2136"/>
                  </a:cubicBezTo>
                  <a:cubicBezTo>
                    <a:pt x="2787" y="2104"/>
                    <a:pt x="2787" y="2104"/>
                    <a:pt x="2787" y="2104"/>
                  </a:cubicBezTo>
                  <a:cubicBezTo>
                    <a:pt x="2778" y="2115"/>
                    <a:pt x="2753" y="2143"/>
                    <a:pt x="2707" y="2143"/>
                  </a:cubicBezTo>
                  <a:cubicBezTo>
                    <a:pt x="2675" y="2143"/>
                    <a:pt x="2651" y="2128"/>
                    <a:pt x="2641" y="2110"/>
                  </a:cubicBezTo>
                  <a:cubicBezTo>
                    <a:pt x="2630" y="2090"/>
                    <a:pt x="2637" y="2056"/>
                    <a:pt x="2639" y="2045"/>
                  </a:cubicBezTo>
                  <a:cubicBezTo>
                    <a:pt x="2671" y="1894"/>
                    <a:pt x="2671" y="1894"/>
                    <a:pt x="2671" y="1894"/>
                  </a:cubicBezTo>
                  <a:lnTo>
                    <a:pt x="2743" y="1894"/>
                  </a:lnTo>
                  <a:close/>
                  <a:moveTo>
                    <a:pt x="3181" y="1895"/>
                  </a:moveTo>
                  <a:cubicBezTo>
                    <a:pt x="3175" y="1914"/>
                    <a:pt x="3170" y="1930"/>
                    <a:pt x="3164" y="1955"/>
                  </a:cubicBezTo>
                  <a:cubicBezTo>
                    <a:pt x="3126" y="2134"/>
                    <a:pt x="3126" y="2134"/>
                    <a:pt x="3126" y="2134"/>
                  </a:cubicBezTo>
                  <a:cubicBezTo>
                    <a:pt x="3108" y="2223"/>
                    <a:pt x="3031" y="2232"/>
                    <a:pt x="2985" y="2232"/>
                  </a:cubicBezTo>
                  <a:cubicBezTo>
                    <a:pt x="2950" y="2232"/>
                    <a:pt x="2883" y="2228"/>
                    <a:pt x="2894" y="2154"/>
                  </a:cubicBezTo>
                  <a:cubicBezTo>
                    <a:pt x="2962" y="2154"/>
                    <a:pt x="2962" y="2154"/>
                    <a:pt x="2962" y="2154"/>
                  </a:cubicBezTo>
                  <a:cubicBezTo>
                    <a:pt x="2962" y="2158"/>
                    <a:pt x="2962" y="2166"/>
                    <a:pt x="2966" y="2174"/>
                  </a:cubicBezTo>
                  <a:cubicBezTo>
                    <a:pt x="2970" y="2181"/>
                    <a:pt x="2979" y="2188"/>
                    <a:pt x="2998" y="2188"/>
                  </a:cubicBezTo>
                  <a:cubicBezTo>
                    <a:pt x="3019" y="2188"/>
                    <a:pt x="3040" y="2178"/>
                    <a:pt x="3049" y="2156"/>
                  </a:cubicBezTo>
                  <a:cubicBezTo>
                    <a:pt x="3054" y="2144"/>
                    <a:pt x="3056" y="2135"/>
                    <a:pt x="3064" y="2099"/>
                  </a:cubicBezTo>
                  <a:cubicBezTo>
                    <a:pt x="3036" y="2128"/>
                    <a:pt x="3009" y="2132"/>
                    <a:pt x="2992" y="2132"/>
                  </a:cubicBezTo>
                  <a:cubicBezTo>
                    <a:pt x="2922" y="2132"/>
                    <a:pt x="2903" y="2071"/>
                    <a:pt x="2915" y="2012"/>
                  </a:cubicBezTo>
                  <a:cubicBezTo>
                    <a:pt x="2928" y="1951"/>
                    <a:pt x="2974" y="1892"/>
                    <a:pt x="3044" y="1892"/>
                  </a:cubicBezTo>
                  <a:cubicBezTo>
                    <a:pt x="3088" y="1892"/>
                    <a:pt x="3099" y="1916"/>
                    <a:pt x="3105" y="1927"/>
                  </a:cubicBezTo>
                  <a:cubicBezTo>
                    <a:pt x="3114" y="1895"/>
                    <a:pt x="3114" y="1895"/>
                    <a:pt x="3114" y="1895"/>
                  </a:cubicBezTo>
                  <a:lnTo>
                    <a:pt x="3181" y="1895"/>
                  </a:lnTo>
                  <a:close/>
                  <a:moveTo>
                    <a:pt x="3019" y="2083"/>
                  </a:moveTo>
                  <a:cubicBezTo>
                    <a:pt x="3069" y="2083"/>
                    <a:pt x="3081" y="2025"/>
                    <a:pt x="3083" y="2014"/>
                  </a:cubicBezTo>
                  <a:cubicBezTo>
                    <a:pt x="3089" y="1986"/>
                    <a:pt x="3094" y="1940"/>
                    <a:pt x="3051" y="1940"/>
                  </a:cubicBezTo>
                  <a:cubicBezTo>
                    <a:pt x="3024" y="1940"/>
                    <a:pt x="2997" y="1960"/>
                    <a:pt x="2986" y="2012"/>
                  </a:cubicBezTo>
                  <a:cubicBezTo>
                    <a:pt x="2984" y="2025"/>
                    <a:pt x="2971" y="2083"/>
                    <a:pt x="3019" y="2083"/>
                  </a:cubicBezTo>
                  <a:moveTo>
                    <a:pt x="3257" y="1790"/>
                  </a:moveTo>
                  <a:cubicBezTo>
                    <a:pt x="3327" y="1790"/>
                    <a:pt x="3327" y="1790"/>
                    <a:pt x="3327" y="1790"/>
                  </a:cubicBezTo>
                  <a:cubicBezTo>
                    <a:pt x="3298" y="1927"/>
                    <a:pt x="3298" y="1927"/>
                    <a:pt x="3298" y="1927"/>
                  </a:cubicBezTo>
                  <a:cubicBezTo>
                    <a:pt x="3309" y="1915"/>
                    <a:pt x="3332" y="1890"/>
                    <a:pt x="3376" y="1890"/>
                  </a:cubicBezTo>
                  <a:cubicBezTo>
                    <a:pt x="3412" y="1890"/>
                    <a:pt x="3431" y="1908"/>
                    <a:pt x="3440" y="1923"/>
                  </a:cubicBezTo>
                  <a:cubicBezTo>
                    <a:pt x="3446" y="1935"/>
                    <a:pt x="3448" y="1957"/>
                    <a:pt x="3441" y="1989"/>
                  </a:cubicBezTo>
                  <a:cubicBezTo>
                    <a:pt x="3410" y="2136"/>
                    <a:pt x="3410" y="2136"/>
                    <a:pt x="3410" y="2136"/>
                  </a:cubicBezTo>
                  <a:cubicBezTo>
                    <a:pt x="3340" y="2136"/>
                    <a:pt x="3340" y="2136"/>
                    <a:pt x="3340" y="2136"/>
                  </a:cubicBezTo>
                  <a:cubicBezTo>
                    <a:pt x="3370" y="1991"/>
                    <a:pt x="3370" y="1991"/>
                    <a:pt x="3370" y="1991"/>
                  </a:cubicBezTo>
                  <a:cubicBezTo>
                    <a:pt x="3373" y="1977"/>
                    <a:pt x="3382" y="1938"/>
                    <a:pt x="3342" y="1938"/>
                  </a:cubicBezTo>
                  <a:cubicBezTo>
                    <a:pt x="3322" y="1938"/>
                    <a:pt x="3293" y="1950"/>
                    <a:pt x="3286" y="1988"/>
                  </a:cubicBezTo>
                  <a:cubicBezTo>
                    <a:pt x="3255" y="2136"/>
                    <a:pt x="3255" y="2136"/>
                    <a:pt x="3255" y="2136"/>
                  </a:cubicBezTo>
                  <a:cubicBezTo>
                    <a:pt x="3183" y="2136"/>
                    <a:pt x="3183" y="2136"/>
                    <a:pt x="3183" y="2136"/>
                  </a:cubicBezTo>
                  <a:lnTo>
                    <a:pt x="3257" y="1790"/>
                  </a:lnTo>
                  <a:close/>
                  <a:moveTo>
                    <a:pt x="158" y="1980"/>
                  </a:moveTo>
                  <a:cubicBezTo>
                    <a:pt x="159" y="1971"/>
                    <a:pt x="164" y="1935"/>
                    <a:pt x="137" y="1935"/>
                  </a:cubicBezTo>
                  <a:cubicBezTo>
                    <a:pt x="103" y="1935"/>
                    <a:pt x="89" y="1986"/>
                    <a:pt x="83" y="2012"/>
                  </a:cubicBezTo>
                  <a:cubicBezTo>
                    <a:pt x="80" y="2026"/>
                    <a:pt x="72" y="2069"/>
                    <a:pt x="85" y="2087"/>
                  </a:cubicBezTo>
                  <a:cubicBezTo>
                    <a:pt x="90" y="2094"/>
                    <a:pt x="97" y="2095"/>
                    <a:pt x="102" y="2095"/>
                  </a:cubicBezTo>
                  <a:cubicBezTo>
                    <a:pt x="109" y="2095"/>
                    <a:pt x="133" y="2092"/>
                    <a:pt x="145" y="2048"/>
                  </a:cubicBezTo>
                  <a:cubicBezTo>
                    <a:pt x="215" y="2048"/>
                    <a:pt x="215" y="2048"/>
                    <a:pt x="215" y="2048"/>
                  </a:cubicBezTo>
                  <a:cubicBezTo>
                    <a:pt x="210" y="2067"/>
                    <a:pt x="201" y="2097"/>
                    <a:pt x="168" y="2120"/>
                  </a:cubicBezTo>
                  <a:cubicBezTo>
                    <a:pt x="148" y="2135"/>
                    <a:pt x="124" y="2143"/>
                    <a:pt x="94" y="2143"/>
                  </a:cubicBezTo>
                  <a:cubicBezTo>
                    <a:pt x="62" y="2143"/>
                    <a:pt x="35" y="2135"/>
                    <a:pt x="18" y="2110"/>
                  </a:cubicBezTo>
                  <a:cubicBezTo>
                    <a:pt x="2" y="2086"/>
                    <a:pt x="0" y="2053"/>
                    <a:pt x="8" y="2015"/>
                  </a:cubicBezTo>
                  <a:cubicBezTo>
                    <a:pt x="32" y="1904"/>
                    <a:pt x="116" y="1889"/>
                    <a:pt x="148" y="1889"/>
                  </a:cubicBezTo>
                  <a:cubicBezTo>
                    <a:pt x="193" y="1889"/>
                    <a:pt x="241" y="1914"/>
                    <a:pt x="228" y="1980"/>
                  </a:cubicBezTo>
                  <a:lnTo>
                    <a:pt x="158" y="1980"/>
                  </a:lnTo>
                  <a:close/>
                  <a:moveTo>
                    <a:pt x="3764" y="1980"/>
                  </a:moveTo>
                  <a:cubicBezTo>
                    <a:pt x="3765" y="1971"/>
                    <a:pt x="3770" y="1935"/>
                    <a:pt x="3742" y="1935"/>
                  </a:cubicBezTo>
                  <a:cubicBezTo>
                    <a:pt x="3709" y="1935"/>
                    <a:pt x="3694" y="1986"/>
                    <a:pt x="3688" y="2012"/>
                  </a:cubicBezTo>
                  <a:cubicBezTo>
                    <a:pt x="3685" y="2026"/>
                    <a:pt x="3678" y="2069"/>
                    <a:pt x="3691" y="2087"/>
                  </a:cubicBezTo>
                  <a:cubicBezTo>
                    <a:pt x="3695" y="2094"/>
                    <a:pt x="3703" y="2095"/>
                    <a:pt x="3708" y="2095"/>
                  </a:cubicBezTo>
                  <a:cubicBezTo>
                    <a:pt x="3715" y="2095"/>
                    <a:pt x="3738" y="2092"/>
                    <a:pt x="3751" y="2048"/>
                  </a:cubicBezTo>
                  <a:cubicBezTo>
                    <a:pt x="3820" y="2048"/>
                    <a:pt x="3820" y="2048"/>
                    <a:pt x="3820" y="2048"/>
                  </a:cubicBezTo>
                  <a:cubicBezTo>
                    <a:pt x="3816" y="2067"/>
                    <a:pt x="3807" y="2097"/>
                    <a:pt x="3774" y="2120"/>
                  </a:cubicBezTo>
                  <a:cubicBezTo>
                    <a:pt x="3754" y="2135"/>
                    <a:pt x="3730" y="2143"/>
                    <a:pt x="3700" y="2143"/>
                  </a:cubicBezTo>
                  <a:cubicBezTo>
                    <a:pt x="3668" y="2143"/>
                    <a:pt x="3641" y="2135"/>
                    <a:pt x="3624" y="2110"/>
                  </a:cubicBezTo>
                  <a:cubicBezTo>
                    <a:pt x="3608" y="2086"/>
                    <a:pt x="3606" y="2053"/>
                    <a:pt x="3614" y="2015"/>
                  </a:cubicBezTo>
                  <a:cubicBezTo>
                    <a:pt x="3638" y="1904"/>
                    <a:pt x="3722" y="1889"/>
                    <a:pt x="3754" y="1889"/>
                  </a:cubicBezTo>
                  <a:cubicBezTo>
                    <a:pt x="3799" y="1889"/>
                    <a:pt x="3847" y="1914"/>
                    <a:pt x="3834" y="1980"/>
                  </a:cubicBezTo>
                  <a:lnTo>
                    <a:pt x="3764" y="1980"/>
                  </a:lnTo>
                  <a:close/>
                  <a:moveTo>
                    <a:pt x="4010" y="1888"/>
                  </a:moveTo>
                  <a:cubicBezTo>
                    <a:pt x="4098" y="1888"/>
                    <a:pt x="4123" y="1948"/>
                    <a:pt x="4109" y="2015"/>
                  </a:cubicBezTo>
                  <a:cubicBezTo>
                    <a:pt x="4094" y="2083"/>
                    <a:pt x="4042" y="2145"/>
                    <a:pt x="3954" y="2145"/>
                  </a:cubicBezTo>
                  <a:cubicBezTo>
                    <a:pt x="3884" y="2145"/>
                    <a:pt x="3839" y="2102"/>
                    <a:pt x="3857" y="2017"/>
                  </a:cubicBezTo>
                  <a:cubicBezTo>
                    <a:pt x="3870" y="1959"/>
                    <a:pt x="3914" y="1888"/>
                    <a:pt x="4010" y="1888"/>
                  </a:cubicBezTo>
                  <a:moveTo>
                    <a:pt x="3967" y="2095"/>
                  </a:moveTo>
                  <a:cubicBezTo>
                    <a:pt x="3998" y="2095"/>
                    <a:pt x="4023" y="2077"/>
                    <a:pt x="4037" y="2012"/>
                  </a:cubicBezTo>
                  <a:cubicBezTo>
                    <a:pt x="4044" y="1980"/>
                    <a:pt x="4047" y="1935"/>
                    <a:pt x="4000" y="1935"/>
                  </a:cubicBezTo>
                  <a:cubicBezTo>
                    <a:pt x="3948" y="1935"/>
                    <a:pt x="3935" y="1995"/>
                    <a:pt x="3930" y="2018"/>
                  </a:cubicBezTo>
                  <a:cubicBezTo>
                    <a:pt x="3918" y="2072"/>
                    <a:pt x="3932" y="2095"/>
                    <a:pt x="3967" y="2095"/>
                  </a:cubicBezTo>
                  <a:moveTo>
                    <a:pt x="4173" y="1939"/>
                  </a:moveTo>
                  <a:cubicBezTo>
                    <a:pt x="4176" y="1924"/>
                    <a:pt x="4178" y="1909"/>
                    <a:pt x="4180" y="1894"/>
                  </a:cubicBezTo>
                  <a:cubicBezTo>
                    <a:pt x="4248" y="1894"/>
                    <a:pt x="4248" y="1894"/>
                    <a:pt x="4248" y="1894"/>
                  </a:cubicBezTo>
                  <a:cubicBezTo>
                    <a:pt x="4245" y="1925"/>
                    <a:pt x="4245" y="1925"/>
                    <a:pt x="4245" y="1925"/>
                  </a:cubicBezTo>
                  <a:cubicBezTo>
                    <a:pt x="4254" y="1915"/>
                    <a:pt x="4279" y="1889"/>
                    <a:pt x="4327" y="1889"/>
                  </a:cubicBezTo>
                  <a:cubicBezTo>
                    <a:pt x="4383" y="1889"/>
                    <a:pt x="4392" y="1923"/>
                    <a:pt x="4394" y="1934"/>
                  </a:cubicBezTo>
                  <a:cubicBezTo>
                    <a:pt x="4423" y="1895"/>
                    <a:pt x="4456" y="1889"/>
                    <a:pt x="4481" y="1889"/>
                  </a:cubicBezTo>
                  <a:cubicBezTo>
                    <a:pt x="4530" y="1889"/>
                    <a:pt x="4544" y="1918"/>
                    <a:pt x="4547" y="1928"/>
                  </a:cubicBezTo>
                  <a:cubicBezTo>
                    <a:pt x="4555" y="1949"/>
                    <a:pt x="4548" y="1978"/>
                    <a:pt x="4544" y="1999"/>
                  </a:cubicBezTo>
                  <a:cubicBezTo>
                    <a:pt x="4515" y="2136"/>
                    <a:pt x="4515" y="2136"/>
                    <a:pt x="4515" y="2136"/>
                  </a:cubicBezTo>
                  <a:cubicBezTo>
                    <a:pt x="4443" y="2136"/>
                    <a:pt x="4443" y="2136"/>
                    <a:pt x="4443" y="2136"/>
                  </a:cubicBezTo>
                  <a:cubicBezTo>
                    <a:pt x="4473" y="1994"/>
                    <a:pt x="4473" y="1994"/>
                    <a:pt x="4473" y="1994"/>
                  </a:cubicBezTo>
                  <a:cubicBezTo>
                    <a:pt x="4479" y="1968"/>
                    <a:pt x="4481" y="1939"/>
                    <a:pt x="4444" y="1939"/>
                  </a:cubicBezTo>
                  <a:cubicBezTo>
                    <a:pt x="4401" y="1939"/>
                    <a:pt x="4392" y="1979"/>
                    <a:pt x="4385" y="2015"/>
                  </a:cubicBezTo>
                  <a:cubicBezTo>
                    <a:pt x="4358" y="2136"/>
                    <a:pt x="4358" y="2136"/>
                    <a:pt x="4358" y="2136"/>
                  </a:cubicBezTo>
                  <a:cubicBezTo>
                    <a:pt x="4286" y="2136"/>
                    <a:pt x="4286" y="2136"/>
                    <a:pt x="4286" y="2136"/>
                  </a:cubicBezTo>
                  <a:cubicBezTo>
                    <a:pt x="4318" y="1992"/>
                    <a:pt x="4318" y="1992"/>
                    <a:pt x="4318" y="1992"/>
                  </a:cubicBezTo>
                  <a:cubicBezTo>
                    <a:pt x="4321" y="1974"/>
                    <a:pt x="4328" y="1939"/>
                    <a:pt x="4289" y="1939"/>
                  </a:cubicBezTo>
                  <a:cubicBezTo>
                    <a:pt x="4244" y="1939"/>
                    <a:pt x="4236" y="1977"/>
                    <a:pt x="4232" y="1994"/>
                  </a:cubicBezTo>
                  <a:cubicBezTo>
                    <a:pt x="4202" y="2136"/>
                    <a:pt x="4202" y="2136"/>
                    <a:pt x="4202" y="2136"/>
                  </a:cubicBezTo>
                  <a:cubicBezTo>
                    <a:pt x="4131" y="2136"/>
                    <a:pt x="4131" y="2136"/>
                    <a:pt x="4131" y="2136"/>
                  </a:cubicBezTo>
                  <a:lnTo>
                    <a:pt x="4173" y="1939"/>
                  </a:lnTo>
                  <a:close/>
                  <a:moveTo>
                    <a:pt x="4694" y="1894"/>
                  </a:moveTo>
                  <a:cubicBezTo>
                    <a:pt x="4689" y="1928"/>
                    <a:pt x="4689" y="1928"/>
                    <a:pt x="4689" y="1928"/>
                  </a:cubicBezTo>
                  <a:cubicBezTo>
                    <a:pt x="4719" y="1889"/>
                    <a:pt x="4759" y="1889"/>
                    <a:pt x="4771" y="1889"/>
                  </a:cubicBezTo>
                  <a:cubicBezTo>
                    <a:pt x="4834" y="1889"/>
                    <a:pt x="4862" y="1936"/>
                    <a:pt x="4846" y="2010"/>
                  </a:cubicBezTo>
                  <a:cubicBezTo>
                    <a:pt x="4832" y="2079"/>
                    <a:pt x="4783" y="2140"/>
                    <a:pt x="4713" y="2140"/>
                  </a:cubicBezTo>
                  <a:cubicBezTo>
                    <a:pt x="4669" y="2140"/>
                    <a:pt x="4656" y="2117"/>
                    <a:pt x="4652" y="2109"/>
                  </a:cubicBezTo>
                  <a:cubicBezTo>
                    <a:pt x="4626" y="2229"/>
                    <a:pt x="4626" y="2229"/>
                    <a:pt x="4626" y="2229"/>
                  </a:cubicBezTo>
                  <a:cubicBezTo>
                    <a:pt x="4554" y="2229"/>
                    <a:pt x="4554" y="2229"/>
                    <a:pt x="4554" y="2229"/>
                  </a:cubicBezTo>
                  <a:cubicBezTo>
                    <a:pt x="4625" y="1894"/>
                    <a:pt x="4625" y="1894"/>
                    <a:pt x="4625" y="1894"/>
                  </a:cubicBezTo>
                  <a:lnTo>
                    <a:pt x="4694" y="1894"/>
                  </a:lnTo>
                  <a:close/>
                  <a:moveTo>
                    <a:pt x="4774" y="2013"/>
                  </a:moveTo>
                  <a:cubicBezTo>
                    <a:pt x="4780" y="1984"/>
                    <a:pt x="4783" y="1935"/>
                    <a:pt x="4741" y="1935"/>
                  </a:cubicBezTo>
                  <a:cubicBezTo>
                    <a:pt x="4718" y="1935"/>
                    <a:pt x="4682" y="1952"/>
                    <a:pt x="4668" y="2017"/>
                  </a:cubicBezTo>
                  <a:cubicBezTo>
                    <a:pt x="4665" y="2031"/>
                    <a:pt x="4652" y="2093"/>
                    <a:pt x="4705" y="2093"/>
                  </a:cubicBezTo>
                  <a:cubicBezTo>
                    <a:pt x="4738" y="2093"/>
                    <a:pt x="4763" y="2061"/>
                    <a:pt x="4774" y="2013"/>
                  </a:cubicBezTo>
                  <a:moveTo>
                    <a:pt x="4936" y="1789"/>
                  </a:moveTo>
                  <a:cubicBezTo>
                    <a:pt x="5007" y="1789"/>
                    <a:pt x="5007" y="1789"/>
                    <a:pt x="5007" y="1789"/>
                  </a:cubicBezTo>
                  <a:cubicBezTo>
                    <a:pt x="4933" y="2136"/>
                    <a:pt x="4933" y="2136"/>
                    <a:pt x="4933" y="2136"/>
                  </a:cubicBezTo>
                  <a:cubicBezTo>
                    <a:pt x="4862" y="2136"/>
                    <a:pt x="4862" y="2136"/>
                    <a:pt x="4862" y="2136"/>
                  </a:cubicBezTo>
                  <a:lnTo>
                    <a:pt x="4936" y="1789"/>
                  </a:lnTo>
                  <a:close/>
                  <a:moveTo>
                    <a:pt x="5068" y="2033"/>
                  </a:moveTo>
                  <a:cubicBezTo>
                    <a:pt x="5064" y="2049"/>
                    <a:pt x="5054" y="2098"/>
                    <a:pt x="5104" y="2098"/>
                  </a:cubicBezTo>
                  <a:cubicBezTo>
                    <a:pt x="5121" y="2098"/>
                    <a:pt x="5140" y="2091"/>
                    <a:pt x="5153" y="2064"/>
                  </a:cubicBezTo>
                  <a:cubicBezTo>
                    <a:pt x="5218" y="2064"/>
                    <a:pt x="5218" y="2064"/>
                    <a:pt x="5218" y="2064"/>
                  </a:cubicBezTo>
                  <a:cubicBezTo>
                    <a:pt x="5214" y="2076"/>
                    <a:pt x="5208" y="2097"/>
                    <a:pt x="5184" y="2117"/>
                  </a:cubicBezTo>
                  <a:cubicBezTo>
                    <a:pt x="5162" y="2136"/>
                    <a:pt x="5128" y="2145"/>
                    <a:pt x="5092" y="2145"/>
                  </a:cubicBezTo>
                  <a:cubicBezTo>
                    <a:pt x="5072" y="2145"/>
                    <a:pt x="5033" y="2142"/>
                    <a:pt x="5013" y="2115"/>
                  </a:cubicBezTo>
                  <a:cubicBezTo>
                    <a:pt x="4996" y="2092"/>
                    <a:pt x="4994" y="2060"/>
                    <a:pt x="5002" y="2021"/>
                  </a:cubicBezTo>
                  <a:cubicBezTo>
                    <a:pt x="5011" y="1981"/>
                    <a:pt x="5030" y="1934"/>
                    <a:pt x="5077" y="1906"/>
                  </a:cubicBezTo>
                  <a:cubicBezTo>
                    <a:pt x="5099" y="1893"/>
                    <a:pt x="5123" y="1886"/>
                    <a:pt x="5150" y="1886"/>
                  </a:cubicBezTo>
                  <a:cubicBezTo>
                    <a:pt x="5184" y="1886"/>
                    <a:pt x="5222" y="1899"/>
                    <a:pt x="5235" y="1944"/>
                  </a:cubicBezTo>
                  <a:cubicBezTo>
                    <a:pt x="5244" y="1977"/>
                    <a:pt x="5236" y="2013"/>
                    <a:pt x="5231" y="2033"/>
                  </a:cubicBezTo>
                  <a:lnTo>
                    <a:pt x="5068" y="2033"/>
                  </a:lnTo>
                  <a:close/>
                  <a:moveTo>
                    <a:pt x="5167" y="1988"/>
                  </a:moveTo>
                  <a:cubicBezTo>
                    <a:pt x="5170" y="1977"/>
                    <a:pt x="5178" y="1934"/>
                    <a:pt x="5137" y="1934"/>
                  </a:cubicBezTo>
                  <a:cubicBezTo>
                    <a:pt x="5105" y="1934"/>
                    <a:pt x="5087" y="1960"/>
                    <a:pt x="5080" y="1988"/>
                  </a:cubicBezTo>
                  <a:lnTo>
                    <a:pt x="5167" y="1988"/>
                  </a:lnTo>
                  <a:close/>
                  <a:moveTo>
                    <a:pt x="5353" y="1894"/>
                  </a:moveTo>
                  <a:cubicBezTo>
                    <a:pt x="5382" y="1973"/>
                    <a:pt x="5382" y="1973"/>
                    <a:pt x="5382" y="1973"/>
                  </a:cubicBezTo>
                  <a:cubicBezTo>
                    <a:pt x="5447" y="1894"/>
                    <a:pt x="5447" y="1894"/>
                    <a:pt x="5447" y="1894"/>
                  </a:cubicBezTo>
                  <a:cubicBezTo>
                    <a:pt x="5520" y="1894"/>
                    <a:pt x="5520" y="1894"/>
                    <a:pt x="5520" y="1894"/>
                  </a:cubicBezTo>
                  <a:cubicBezTo>
                    <a:pt x="5417" y="2012"/>
                    <a:pt x="5417" y="2012"/>
                    <a:pt x="5417" y="2012"/>
                  </a:cubicBezTo>
                  <a:cubicBezTo>
                    <a:pt x="5471" y="2136"/>
                    <a:pt x="5471" y="2136"/>
                    <a:pt x="5471" y="2136"/>
                  </a:cubicBezTo>
                  <a:cubicBezTo>
                    <a:pt x="5388" y="2136"/>
                    <a:pt x="5388" y="2136"/>
                    <a:pt x="5388" y="2136"/>
                  </a:cubicBezTo>
                  <a:cubicBezTo>
                    <a:pt x="5357" y="2047"/>
                    <a:pt x="5357" y="2047"/>
                    <a:pt x="5357" y="2047"/>
                  </a:cubicBezTo>
                  <a:cubicBezTo>
                    <a:pt x="5289" y="2136"/>
                    <a:pt x="5289" y="2136"/>
                    <a:pt x="5289" y="2136"/>
                  </a:cubicBezTo>
                  <a:cubicBezTo>
                    <a:pt x="5214" y="2136"/>
                    <a:pt x="5214" y="2136"/>
                    <a:pt x="5214" y="2136"/>
                  </a:cubicBezTo>
                  <a:cubicBezTo>
                    <a:pt x="5323" y="2006"/>
                    <a:pt x="5323" y="2006"/>
                    <a:pt x="5323" y="2006"/>
                  </a:cubicBezTo>
                  <a:cubicBezTo>
                    <a:pt x="5269" y="1894"/>
                    <a:pt x="5269" y="1894"/>
                    <a:pt x="5269" y="1894"/>
                  </a:cubicBezTo>
                  <a:lnTo>
                    <a:pt x="5353" y="1894"/>
                  </a:lnTo>
                  <a:close/>
                  <a:moveTo>
                    <a:pt x="5553" y="1893"/>
                  </a:moveTo>
                  <a:cubicBezTo>
                    <a:pt x="5625" y="1893"/>
                    <a:pt x="5625" y="1893"/>
                    <a:pt x="5625" y="1893"/>
                  </a:cubicBezTo>
                  <a:cubicBezTo>
                    <a:pt x="5573" y="2136"/>
                    <a:pt x="5573" y="2136"/>
                    <a:pt x="5573" y="2136"/>
                  </a:cubicBezTo>
                  <a:cubicBezTo>
                    <a:pt x="5501" y="2136"/>
                    <a:pt x="5501" y="2136"/>
                    <a:pt x="5501" y="2136"/>
                  </a:cubicBezTo>
                  <a:lnTo>
                    <a:pt x="5553" y="1893"/>
                  </a:lnTo>
                  <a:close/>
                  <a:moveTo>
                    <a:pt x="5573" y="1790"/>
                  </a:moveTo>
                  <a:cubicBezTo>
                    <a:pt x="5648" y="1790"/>
                    <a:pt x="5648" y="1790"/>
                    <a:pt x="5648" y="1790"/>
                  </a:cubicBezTo>
                  <a:cubicBezTo>
                    <a:pt x="5636" y="1851"/>
                    <a:pt x="5636" y="1851"/>
                    <a:pt x="5636" y="1851"/>
                  </a:cubicBezTo>
                  <a:cubicBezTo>
                    <a:pt x="5560" y="1851"/>
                    <a:pt x="5560" y="1851"/>
                    <a:pt x="5560" y="1851"/>
                  </a:cubicBezTo>
                  <a:lnTo>
                    <a:pt x="5573" y="1790"/>
                  </a:lnTo>
                  <a:close/>
                  <a:moveTo>
                    <a:pt x="5775" y="2133"/>
                  </a:moveTo>
                  <a:cubicBezTo>
                    <a:pt x="5752" y="2139"/>
                    <a:pt x="5730" y="2141"/>
                    <a:pt x="5719" y="2141"/>
                  </a:cubicBezTo>
                  <a:cubicBezTo>
                    <a:pt x="5647" y="2141"/>
                    <a:pt x="5657" y="2095"/>
                    <a:pt x="5662" y="2075"/>
                  </a:cubicBezTo>
                  <a:cubicBezTo>
                    <a:pt x="5689" y="1942"/>
                    <a:pt x="5689" y="1942"/>
                    <a:pt x="5689" y="1942"/>
                  </a:cubicBezTo>
                  <a:cubicBezTo>
                    <a:pt x="5643" y="1942"/>
                    <a:pt x="5643" y="1942"/>
                    <a:pt x="5643" y="1942"/>
                  </a:cubicBezTo>
                  <a:cubicBezTo>
                    <a:pt x="5653" y="1895"/>
                    <a:pt x="5653" y="1895"/>
                    <a:pt x="5653" y="1895"/>
                  </a:cubicBezTo>
                  <a:cubicBezTo>
                    <a:pt x="5700" y="1895"/>
                    <a:pt x="5700" y="1895"/>
                    <a:pt x="5700" y="1895"/>
                  </a:cubicBezTo>
                  <a:cubicBezTo>
                    <a:pt x="5710" y="1848"/>
                    <a:pt x="5710" y="1848"/>
                    <a:pt x="5710" y="1848"/>
                  </a:cubicBezTo>
                  <a:cubicBezTo>
                    <a:pt x="5786" y="1822"/>
                    <a:pt x="5786" y="1822"/>
                    <a:pt x="5786" y="1822"/>
                  </a:cubicBezTo>
                  <a:cubicBezTo>
                    <a:pt x="5770" y="1895"/>
                    <a:pt x="5770" y="1895"/>
                    <a:pt x="5770" y="1895"/>
                  </a:cubicBezTo>
                  <a:cubicBezTo>
                    <a:pt x="5828" y="1895"/>
                    <a:pt x="5828" y="1895"/>
                    <a:pt x="5828" y="1895"/>
                  </a:cubicBezTo>
                  <a:cubicBezTo>
                    <a:pt x="5818" y="1942"/>
                    <a:pt x="5818" y="1942"/>
                    <a:pt x="5818" y="1942"/>
                  </a:cubicBezTo>
                  <a:cubicBezTo>
                    <a:pt x="5760" y="1942"/>
                    <a:pt x="5760" y="1942"/>
                    <a:pt x="5760" y="1942"/>
                  </a:cubicBezTo>
                  <a:cubicBezTo>
                    <a:pt x="5736" y="2052"/>
                    <a:pt x="5736" y="2052"/>
                    <a:pt x="5736" y="2052"/>
                  </a:cubicBezTo>
                  <a:cubicBezTo>
                    <a:pt x="5733" y="2074"/>
                    <a:pt x="5729" y="2088"/>
                    <a:pt x="5761" y="2088"/>
                  </a:cubicBezTo>
                  <a:cubicBezTo>
                    <a:pt x="5772" y="2088"/>
                    <a:pt x="5777" y="2087"/>
                    <a:pt x="5786" y="2086"/>
                  </a:cubicBezTo>
                  <a:lnTo>
                    <a:pt x="5775" y="2133"/>
                  </a:lnTo>
                  <a:close/>
                  <a:moveTo>
                    <a:pt x="5921" y="1894"/>
                  </a:moveTo>
                  <a:cubicBezTo>
                    <a:pt x="5939" y="2062"/>
                    <a:pt x="5939" y="2062"/>
                    <a:pt x="5939" y="2062"/>
                  </a:cubicBezTo>
                  <a:cubicBezTo>
                    <a:pt x="6028" y="1894"/>
                    <a:pt x="6028" y="1894"/>
                    <a:pt x="6028" y="1894"/>
                  </a:cubicBezTo>
                  <a:cubicBezTo>
                    <a:pt x="6099" y="1894"/>
                    <a:pt x="6099" y="1894"/>
                    <a:pt x="6099" y="1894"/>
                  </a:cubicBezTo>
                  <a:cubicBezTo>
                    <a:pt x="5957" y="2132"/>
                    <a:pt x="5957" y="2132"/>
                    <a:pt x="5957" y="2132"/>
                  </a:cubicBezTo>
                  <a:cubicBezTo>
                    <a:pt x="5907" y="2229"/>
                    <a:pt x="5907" y="2229"/>
                    <a:pt x="5907" y="2229"/>
                  </a:cubicBezTo>
                  <a:cubicBezTo>
                    <a:pt x="5835" y="2229"/>
                    <a:pt x="5835" y="2229"/>
                    <a:pt x="5835" y="2229"/>
                  </a:cubicBezTo>
                  <a:cubicBezTo>
                    <a:pt x="5886" y="2137"/>
                    <a:pt x="5886" y="2137"/>
                    <a:pt x="5886" y="2137"/>
                  </a:cubicBezTo>
                  <a:cubicBezTo>
                    <a:pt x="5844" y="1894"/>
                    <a:pt x="5844" y="1894"/>
                    <a:pt x="5844" y="1894"/>
                  </a:cubicBezTo>
                  <a:lnTo>
                    <a:pt x="5921" y="1894"/>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noAutofit/>
            </a:bodyPr>
            <a:lstStyle/>
            <a:p>
              <a:pPr algn="ctr" defTabSz="685783"/>
              <a:endParaRPr lang="en-GB">
                <a:solidFill>
                  <a:srgbClr val="000000"/>
                </a:solidFill>
                <a:cs typeface="Arial" charset="0"/>
              </a:endParaRPr>
            </a:p>
          </p:txBody>
        </p:sp>
        <p:sp>
          <p:nvSpPr>
            <p:cNvPr id="12" name="Freeform 15"/>
            <p:cNvSpPr>
              <a:spLocks noChangeAspect="1" noEditPoints="1"/>
            </p:cNvSpPr>
            <p:nvPr userDrawn="1"/>
          </p:nvSpPr>
          <p:spPr bwMode="hidden">
            <a:xfrm>
              <a:off x="128464" y="1"/>
              <a:ext cx="2160000" cy="1275101"/>
            </a:xfrm>
            <a:custGeom>
              <a:avLst/>
              <a:gdLst/>
              <a:ahLst/>
              <a:cxnLst>
                <a:cxn ang="0">
                  <a:pos x="176" y="248"/>
                </a:cxn>
                <a:cxn ang="0">
                  <a:pos x="0" y="248"/>
                </a:cxn>
                <a:cxn ang="0">
                  <a:pos x="0" y="0"/>
                </a:cxn>
                <a:cxn ang="0">
                  <a:pos x="176" y="0"/>
                </a:cxn>
                <a:cxn ang="0">
                  <a:pos x="176" y="248"/>
                </a:cxn>
                <a:cxn ang="0">
                  <a:pos x="176" y="716"/>
                </a:cxn>
                <a:cxn ang="0">
                  <a:pos x="0" y="716"/>
                </a:cxn>
                <a:cxn ang="0">
                  <a:pos x="0" y="964"/>
                </a:cxn>
                <a:cxn ang="0">
                  <a:pos x="176" y="964"/>
                </a:cxn>
                <a:cxn ang="0">
                  <a:pos x="176" y="716"/>
                </a:cxn>
                <a:cxn ang="0">
                  <a:pos x="1633" y="0"/>
                </a:cxn>
                <a:cxn ang="0">
                  <a:pos x="1457" y="0"/>
                </a:cxn>
                <a:cxn ang="0">
                  <a:pos x="1457" y="248"/>
                </a:cxn>
                <a:cxn ang="0">
                  <a:pos x="1633" y="248"/>
                </a:cxn>
                <a:cxn ang="0">
                  <a:pos x="1633" y="0"/>
                </a:cxn>
                <a:cxn ang="0">
                  <a:pos x="1633" y="716"/>
                </a:cxn>
                <a:cxn ang="0">
                  <a:pos x="1457" y="716"/>
                </a:cxn>
                <a:cxn ang="0">
                  <a:pos x="1457" y="964"/>
                </a:cxn>
                <a:cxn ang="0">
                  <a:pos x="1633" y="964"/>
                </a:cxn>
                <a:cxn ang="0">
                  <a:pos x="1633" y="716"/>
                </a:cxn>
              </a:cxnLst>
              <a:rect l="0" t="0" r="r" b="b"/>
              <a:pathLst>
                <a:path w="1633" h="964">
                  <a:moveTo>
                    <a:pt x="176" y="248"/>
                  </a:moveTo>
                  <a:lnTo>
                    <a:pt x="0" y="248"/>
                  </a:lnTo>
                  <a:lnTo>
                    <a:pt x="0" y="0"/>
                  </a:lnTo>
                  <a:lnTo>
                    <a:pt x="176" y="0"/>
                  </a:lnTo>
                  <a:lnTo>
                    <a:pt x="176" y="248"/>
                  </a:lnTo>
                  <a:close/>
                  <a:moveTo>
                    <a:pt x="176" y="716"/>
                  </a:moveTo>
                  <a:lnTo>
                    <a:pt x="0" y="716"/>
                  </a:lnTo>
                  <a:lnTo>
                    <a:pt x="0" y="964"/>
                  </a:lnTo>
                  <a:lnTo>
                    <a:pt x="176" y="964"/>
                  </a:lnTo>
                  <a:lnTo>
                    <a:pt x="176" y="716"/>
                  </a:lnTo>
                  <a:close/>
                  <a:moveTo>
                    <a:pt x="1633" y="0"/>
                  </a:moveTo>
                  <a:lnTo>
                    <a:pt x="1457" y="0"/>
                  </a:lnTo>
                  <a:lnTo>
                    <a:pt x="1457" y="248"/>
                  </a:lnTo>
                  <a:lnTo>
                    <a:pt x="1633" y="248"/>
                  </a:lnTo>
                  <a:lnTo>
                    <a:pt x="1633" y="0"/>
                  </a:lnTo>
                  <a:close/>
                  <a:moveTo>
                    <a:pt x="1633" y="716"/>
                  </a:moveTo>
                  <a:lnTo>
                    <a:pt x="1457" y="716"/>
                  </a:lnTo>
                  <a:lnTo>
                    <a:pt x="1457" y="964"/>
                  </a:lnTo>
                  <a:lnTo>
                    <a:pt x="1633" y="964"/>
                  </a:lnTo>
                  <a:lnTo>
                    <a:pt x="1633" y="716"/>
                  </a:lnTo>
                  <a:close/>
                </a:path>
              </a:pathLst>
            </a:custGeom>
            <a:noFill/>
            <a:ln w="9525">
              <a:noFill/>
              <a:round/>
              <a:headEnd/>
              <a:tailEnd/>
            </a:ln>
          </p:spPr>
          <p:txBody>
            <a:bodyPr vert="horz" wrap="square" lIns="91440" tIns="45720" rIns="91440" bIns="45720" numCol="1" anchor="t" anchorCtr="0" compatLnSpc="1">
              <a:prstTxWarp prst="textNoShape">
                <a:avLst/>
              </a:prstTxWarp>
              <a:noAutofit/>
            </a:bodyPr>
            <a:lstStyle/>
            <a:p>
              <a:pPr algn="ctr" defTabSz="685783"/>
              <a:endParaRPr lang="en-GB" dirty="0">
                <a:solidFill>
                  <a:srgbClr val="000000"/>
                </a:solidFill>
                <a:cs typeface="Arial" charset="0"/>
              </a:endParaRPr>
            </a:p>
          </p:txBody>
        </p:sp>
      </p:grpSp>
      <p:pic>
        <p:nvPicPr>
          <p:cNvPr id="15" name="Picture 14">
            <a:hlinkClick r:id="rId2"/>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23423" y="4638045"/>
            <a:ext cx="224039" cy="224039"/>
          </a:xfrm>
          <a:prstGeom prst="rect">
            <a:avLst/>
          </a:prstGeom>
        </p:spPr>
      </p:pic>
      <p:pic>
        <p:nvPicPr>
          <p:cNvPr id="16" name="Picture 15">
            <a:hlinkClick r:id="rId4"/>
          </p:cNvPr>
          <p:cNvPicPr>
            <a:picLocks noChangeAspect="1"/>
          </p:cNvPicPr>
          <p:nvPr userDrawn="1"/>
        </p:nvPicPr>
        <p:blipFill>
          <a:blip r:embed="rId5"/>
          <a:stretch>
            <a:fillRect/>
          </a:stretch>
        </p:blipFill>
        <p:spPr>
          <a:xfrm>
            <a:off x="1523302" y="4635769"/>
            <a:ext cx="287550" cy="231638"/>
          </a:xfrm>
          <a:prstGeom prst="rect">
            <a:avLst/>
          </a:prstGeom>
        </p:spPr>
      </p:pic>
      <p:pic>
        <p:nvPicPr>
          <p:cNvPr id="17" name="Picture 16">
            <a:hlinkClick r:id="rId6"/>
          </p:cNvPr>
          <p:cNvPicPr>
            <a:picLocks noChangeAspect="1"/>
          </p:cNvPicPr>
          <p:nvPr userDrawn="1"/>
        </p:nvPicPr>
        <p:blipFill>
          <a:blip r:embed="rId7"/>
          <a:stretch>
            <a:fillRect/>
          </a:stretch>
        </p:blipFill>
        <p:spPr>
          <a:xfrm>
            <a:off x="323528" y="4635768"/>
            <a:ext cx="228600" cy="228600"/>
          </a:xfrm>
          <a:prstGeom prst="rect">
            <a:avLst/>
          </a:prstGeom>
        </p:spPr>
      </p:pic>
      <p:pic>
        <p:nvPicPr>
          <p:cNvPr id="18" name="Picture 17">
            <a:hlinkClick r:id="rId8"/>
          </p:cNvPr>
          <p:cNvPicPr>
            <a:picLocks noChangeAspect="1"/>
          </p:cNvPicPr>
          <p:nvPr userDrawn="1"/>
        </p:nvPicPr>
        <p:blipFill>
          <a:blip r:embed="rId9"/>
          <a:stretch>
            <a:fillRect/>
          </a:stretch>
        </p:blipFill>
        <p:spPr>
          <a:xfrm>
            <a:off x="921134" y="4635768"/>
            <a:ext cx="228600" cy="228600"/>
          </a:xfrm>
          <a:prstGeom prst="rect">
            <a:avLst/>
          </a:prstGeom>
        </p:spPr>
      </p:pic>
      <p:pic>
        <p:nvPicPr>
          <p:cNvPr id="19" name="Picture 18">
            <a:hlinkClick r:id="rId10"/>
          </p:cNvPr>
          <p:cNvPicPr>
            <a:picLocks noChangeAspect="1"/>
          </p:cNvPicPr>
          <p:nvPr userDrawn="1"/>
        </p:nvPicPr>
        <p:blipFill>
          <a:blip r:embed="rId11"/>
          <a:stretch>
            <a:fillRect/>
          </a:stretch>
        </p:blipFill>
        <p:spPr>
          <a:xfrm>
            <a:off x="1223408" y="4638043"/>
            <a:ext cx="228600" cy="228600"/>
          </a:xfrm>
          <a:prstGeom prst="rect">
            <a:avLst/>
          </a:prstGeom>
        </p:spPr>
      </p:pic>
    </p:spTree>
    <p:extLst>
      <p:ext uri="{BB962C8B-B14F-4D97-AF65-F5344CB8AC3E}">
        <p14:creationId xmlns:p14="http://schemas.microsoft.com/office/powerpoint/2010/main" val="321346235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Trademark statement">
    <p:spTree>
      <p:nvGrpSpPr>
        <p:cNvPr id="1" name=""/>
        <p:cNvGrpSpPr/>
        <p:nvPr/>
      </p:nvGrpSpPr>
      <p:grpSpPr>
        <a:xfrm>
          <a:off x="0" y="0"/>
          <a:ext cx="0" cy="0"/>
          <a:chOff x="0" y="0"/>
          <a:chExt cx="0" cy="0"/>
        </a:xfrm>
      </p:grpSpPr>
      <p:sp>
        <p:nvSpPr>
          <p:cNvPr id="3" name="Freeform 9"/>
          <p:cNvSpPr>
            <a:spLocks/>
          </p:cNvSpPr>
          <p:nvPr userDrawn="1"/>
        </p:nvSpPr>
        <p:spPr bwMode="gray">
          <a:xfrm>
            <a:off x="1" y="0"/>
            <a:ext cx="4578350" cy="2577304"/>
          </a:xfrm>
          <a:custGeom>
            <a:avLst/>
            <a:gdLst/>
            <a:ahLst/>
            <a:cxnLst>
              <a:cxn ang="0">
                <a:pos x="2403" y="1624"/>
              </a:cxn>
              <a:cxn ang="0">
                <a:pos x="2884" y="0"/>
              </a:cxn>
              <a:cxn ang="0">
                <a:pos x="0" y="0"/>
              </a:cxn>
              <a:cxn ang="0">
                <a:pos x="0" y="1624"/>
              </a:cxn>
              <a:cxn ang="0">
                <a:pos x="2403" y="1624"/>
              </a:cxn>
            </a:cxnLst>
            <a:rect l="0" t="0" r="r" b="b"/>
            <a:pathLst>
              <a:path w="2884" h="1624">
                <a:moveTo>
                  <a:pt x="2403" y="1624"/>
                </a:moveTo>
                <a:lnTo>
                  <a:pt x="2884" y="0"/>
                </a:lnTo>
                <a:lnTo>
                  <a:pt x="0" y="0"/>
                </a:lnTo>
                <a:lnTo>
                  <a:pt x="0" y="1624"/>
                </a:lnTo>
                <a:lnTo>
                  <a:pt x="2403" y="1624"/>
                </a:lnTo>
                <a:close/>
              </a:path>
            </a:pathLst>
          </a:custGeom>
          <a:gradFill rotWithShape="1">
            <a:gsLst>
              <a:gs pos="0">
                <a:srgbClr val="00257A">
                  <a:alpha val="89999"/>
                </a:srgbClr>
              </a:gs>
              <a:gs pos="35001">
                <a:srgbClr val="00338D">
                  <a:alpha val="89999"/>
                </a:srgbClr>
              </a:gs>
              <a:gs pos="100000">
                <a:srgbClr val="009FDA">
                  <a:alpha val="89999"/>
                </a:srgbClr>
              </a:gs>
            </a:gsLst>
            <a:lin ang="0" scaled="1"/>
          </a:gradFill>
          <a:ln w="9525" cap="flat" cmpd="sng">
            <a:noFill/>
            <a:prstDash val="solid"/>
            <a:round/>
            <a:headEnd type="none" w="med" len="med"/>
            <a:tailEnd type="none" w="med" len="med"/>
          </a:ln>
          <a:effectLst/>
        </p:spPr>
        <p:txBody>
          <a:bodyPr lIns="68579" tIns="34289" rIns="68579" bIns="34289">
            <a:noAutofit/>
          </a:bodyPr>
          <a:lstStyle/>
          <a:p>
            <a:pPr algn="ctr" defTabSz="685783"/>
            <a:endParaRPr lang="en-GB">
              <a:solidFill>
                <a:srgbClr val="000000"/>
              </a:solidFill>
              <a:cs typeface="Arial" charset="0"/>
            </a:endParaRPr>
          </a:p>
        </p:txBody>
      </p:sp>
      <p:sp>
        <p:nvSpPr>
          <p:cNvPr id="13" name="Text Placeholder 12"/>
          <p:cNvSpPr>
            <a:spLocks noGrp="1"/>
          </p:cNvSpPr>
          <p:nvPr>
            <p:ph type="body" sz="quarter" idx="10"/>
          </p:nvPr>
        </p:nvSpPr>
        <p:spPr>
          <a:xfrm>
            <a:off x="323528" y="2800352"/>
            <a:ext cx="3456384" cy="1728191"/>
          </a:xfrm>
          <a:noFill/>
          <a:ln w="9525">
            <a:noFill/>
            <a:miter lim="800000"/>
            <a:headEnd/>
            <a:tailEnd/>
          </a:ln>
        </p:spPr>
        <p:txBody>
          <a:bodyPr rtlCol="0" anchor="b">
            <a:noAutofit/>
          </a:bodyPr>
          <a:lstStyle>
            <a:lvl1pPr>
              <a:defRPr lang="en-US" sz="700" b="0" kern="1200" noProof="0" dirty="0" smtClean="0">
                <a:solidFill>
                  <a:schemeClr val="tx1"/>
                </a:solidFill>
                <a:latin typeface="Arial" pitchFamily="34" charset="0"/>
                <a:ea typeface="+mn-ea"/>
                <a:cs typeface="Arial" pitchFamily="34" charset="0"/>
              </a:defRPr>
            </a:lvl1pPr>
            <a:lvl2pPr>
              <a:defRPr sz="1200"/>
            </a:lvl2pPr>
            <a:lvl3pPr>
              <a:defRPr lang="en-US" sz="1200" b="0" kern="1200" noProof="0" dirty="0" smtClean="0">
                <a:solidFill>
                  <a:schemeClr val="tx1"/>
                </a:solidFill>
                <a:latin typeface="Arial" pitchFamily="34" charset="0"/>
                <a:ea typeface="+mn-ea"/>
                <a:cs typeface="Arial" pitchFamily="34" charset="0"/>
              </a:defRPr>
            </a:lvl3pPr>
            <a:lvl4pPr>
              <a:defRPr lang="en-US" sz="1200" b="0" kern="1200" noProof="0" dirty="0" smtClean="0">
                <a:solidFill>
                  <a:schemeClr val="tx1"/>
                </a:solidFill>
                <a:latin typeface="Arial" pitchFamily="34" charset="0"/>
                <a:ea typeface="+mn-ea"/>
                <a:cs typeface="Arial" pitchFamily="34" charset="0"/>
              </a:defRPr>
            </a:lvl4pPr>
            <a:lvl5pPr>
              <a:defRPr lang="en-US" sz="1200" b="0" kern="1200" noProof="0" dirty="0" smtClean="0">
                <a:solidFill>
                  <a:schemeClr val="tx1"/>
                </a:solidFill>
                <a:latin typeface="Arial" pitchFamily="34" charset="0"/>
                <a:ea typeface="+mn-ea"/>
                <a:cs typeface="Arial" pitchFamily="34" charset="0"/>
              </a:defRPr>
            </a:lvl5pPr>
            <a:lvl6pPr>
              <a:defRPr lang="en-US" sz="1200" b="0" kern="1200" noProof="0" dirty="0" smtClean="0">
                <a:solidFill>
                  <a:schemeClr val="tx1"/>
                </a:solidFill>
                <a:latin typeface="Arial" pitchFamily="34" charset="0"/>
                <a:ea typeface="+mn-ea"/>
                <a:cs typeface="Arial" pitchFamily="34" charset="0"/>
              </a:defRPr>
            </a:lvl6pPr>
            <a:lvl7pPr>
              <a:defRPr lang="en-US" sz="1200" b="0" kern="1200" noProof="0" dirty="0" smtClean="0">
                <a:solidFill>
                  <a:schemeClr val="tx1"/>
                </a:solidFill>
                <a:latin typeface="Arial" pitchFamily="34" charset="0"/>
                <a:ea typeface="+mn-ea"/>
                <a:cs typeface="Arial" pitchFamily="34" charset="0"/>
              </a:defRPr>
            </a:lvl7pPr>
            <a:lvl8pPr>
              <a:defRPr lang="en-US" sz="1200" b="0" kern="1200" noProof="0" dirty="0" smtClean="0">
                <a:solidFill>
                  <a:schemeClr val="tx1"/>
                </a:solidFill>
                <a:latin typeface="Arial" pitchFamily="34" charset="0"/>
                <a:ea typeface="+mn-ea"/>
                <a:cs typeface="Arial" pitchFamily="34" charset="0"/>
              </a:defRPr>
            </a:lvl8pPr>
            <a:lvl9pPr>
              <a:defRPr lang="en-US" sz="1200" b="0" kern="1200" noProof="0" dirty="0" smtClean="0">
                <a:solidFill>
                  <a:schemeClr val="tx1"/>
                </a:solidFill>
                <a:latin typeface="Arial" pitchFamily="34" charset="0"/>
                <a:ea typeface="+mn-ea"/>
                <a:cs typeface="Arial" pitchFamily="34" charset="0"/>
              </a:defRPr>
            </a:lvl9pPr>
          </a:lstStyle>
          <a:p>
            <a:pPr lvl="0"/>
            <a:r>
              <a:rPr lang="en-US"/>
              <a:t>Click to edit Master text styles</a:t>
            </a:r>
          </a:p>
        </p:txBody>
      </p:sp>
      <p:grpSp>
        <p:nvGrpSpPr>
          <p:cNvPr id="2" name="Group 9"/>
          <p:cNvGrpSpPr>
            <a:grpSpLocks noChangeAspect="1"/>
          </p:cNvGrpSpPr>
          <p:nvPr userDrawn="1"/>
        </p:nvGrpSpPr>
        <p:grpSpPr>
          <a:xfrm>
            <a:off x="180000" y="1"/>
            <a:ext cx="2049042" cy="1209600"/>
            <a:chOff x="128464" y="1"/>
            <a:chExt cx="2160000" cy="1275101"/>
          </a:xfrm>
        </p:grpSpPr>
        <p:sp>
          <p:nvSpPr>
            <p:cNvPr id="11" name="Freeform 14"/>
            <p:cNvSpPr>
              <a:spLocks noChangeAspect="1" noEditPoints="1"/>
            </p:cNvSpPr>
            <p:nvPr userDrawn="1"/>
          </p:nvSpPr>
          <p:spPr bwMode="white">
            <a:xfrm>
              <a:off x="301741" y="328035"/>
              <a:ext cx="1765830" cy="646810"/>
            </a:xfrm>
            <a:custGeom>
              <a:avLst/>
              <a:gdLst/>
              <a:ahLst/>
              <a:cxnLst>
                <a:cxn ang="0">
                  <a:pos x="2851" y="1035"/>
                </a:cxn>
                <a:cxn ang="0">
                  <a:pos x="3588" y="28"/>
                </a:cxn>
                <a:cxn ang="0">
                  <a:pos x="2718" y="826"/>
                </a:cxn>
                <a:cxn ang="0">
                  <a:pos x="1973" y="28"/>
                </a:cxn>
                <a:cxn ang="0">
                  <a:pos x="1663" y="659"/>
                </a:cxn>
                <a:cxn ang="0">
                  <a:pos x="1850" y="28"/>
                </a:cxn>
                <a:cxn ang="0">
                  <a:pos x="1165" y="1000"/>
                </a:cxn>
                <a:cxn ang="0">
                  <a:pos x="1334" y="806"/>
                </a:cxn>
                <a:cxn ang="0">
                  <a:pos x="479" y="1047"/>
                </a:cxn>
                <a:cxn ang="0">
                  <a:pos x="980" y="699"/>
                </a:cxn>
                <a:cxn ang="0">
                  <a:pos x="2747" y="0"/>
                </a:cxn>
                <a:cxn ang="0">
                  <a:pos x="1009" y="0"/>
                </a:cxn>
                <a:cxn ang="0">
                  <a:pos x="665" y="1435"/>
                </a:cxn>
                <a:cxn ang="0">
                  <a:pos x="1150" y="1133"/>
                </a:cxn>
                <a:cxn ang="0">
                  <a:pos x="1980" y="1434"/>
                </a:cxn>
                <a:cxn ang="0">
                  <a:pos x="2963" y="1451"/>
                </a:cxn>
                <a:cxn ang="0">
                  <a:pos x="348" y="2092"/>
                </a:cxn>
                <a:cxn ang="0">
                  <a:pos x="395" y="2104"/>
                </a:cxn>
                <a:cxn ang="0">
                  <a:pos x="880" y="1895"/>
                </a:cxn>
                <a:cxn ang="0">
                  <a:pos x="584" y="1895"/>
                </a:cxn>
                <a:cxn ang="0">
                  <a:pos x="645" y="2088"/>
                </a:cxn>
                <a:cxn ang="0">
                  <a:pos x="813" y="2088"/>
                </a:cxn>
                <a:cxn ang="0">
                  <a:pos x="935" y="1790"/>
                </a:cxn>
                <a:cxn ang="0">
                  <a:pos x="1104" y="1929"/>
                </a:cxn>
                <a:cxn ang="0">
                  <a:pos x="1151" y="1938"/>
                </a:cxn>
                <a:cxn ang="0">
                  <a:pos x="1504" y="2134"/>
                </a:cxn>
                <a:cxn ang="0">
                  <a:pos x="1370" y="2132"/>
                </a:cxn>
                <a:cxn ang="0">
                  <a:pos x="1428" y="1940"/>
                </a:cxn>
                <a:cxn ang="0">
                  <a:pos x="1719" y="1895"/>
                </a:cxn>
                <a:cxn ang="0">
                  <a:pos x="1803" y="2052"/>
                </a:cxn>
                <a:cxn ang="0">
                  <a:pos x="2137" y="1923"/>
                </a:cxn>
                <a:cxn ang="0">
                  <a:pos x="1881" y="2136"/>
                </a:cxn>
                <a:cxn ang="0">
                  <a:pos x="2253" y="2017"/>
                </a:cxn>
                <a:cxn ang="0">
                  <a:pos x="2503" y="1888"/>
                </a:cxn>
                <a:cxn ang="0">
                  <a:pos x="2740" y="2092"/>
                </a:cxn>
                <a:cxn ang="0">
                  <a:pos x="2787" y="2104"/>
                </a:cxn>
                <a:cxn ang="0">
                  <a:pos x="3126" y="2134"/>
                </a:cxn>
                <a:cxn ang="0">
                  <a:pos x="2992" y="2132"/>
                </a:cxn>
                <a:cxn ang="0">
                  <a:pos x="3051" y="1940"/>
                </a:cxn>
                <a:cxn ang="0">
                  <a:pos x="3441" y="1989"/>
                </a:cxn>
                <a:cxn ang="0">
                  <a:pos x="3257" y="1790"/>
                </a:cxn>
                <a:cxn ang="0">
                  <a:pos x="168" y="2120"/>
                </a:cxn>
                <a:cxn ang="0">
                  <a:pos x="3742" y="1935"/>
                </a:cxn>
                <a:cxn ang="0">
                  <a:pos x="3624" y="2110"/>
                </a:cxn>
                <a:cxn ang="0">
                  <a:pos x="3857" y="2017"/>
                </a:cxn>
                <a:cxn ang="0">
                  <a:pos x="4180" y="1894"/>
                </a:cxn>
                <a:cxn ang="0">
                  <a:pos x="4515" y="2136"/>
                </a:cxn>
                <a:cxn ang="0">
                  <a:pos x="4289" y="1939"/>
                </a:cxn>
                <a:cxn ang="0">
                  <a:pos x="4846" y="2010"/>
                </a:cxn>
                <a:cxn ang="0">
                  <a:pos x="4741" y="1935"/>
                </a:cxn>
                <a:cxn ang="0">
                  <a:pos x="4936" y="1789"/>
                </a:cxn>
                <a:cxn ang="0">
                  <a:pos x="5002" y="2021"/>
                </a:cxn>
                <a:cxn ang="0">
                  <a:pos x="5080" y="1988"/>
                </a:cxn>
                <a:cxn ang="0">
                  <a:pos x="5388" y="2136"/>
                </a:cxn>
                <a:cxn ang="0">
                  <a:pos x="5625" y="1893"/>
                </a:cxn>
                <a:cxn ang="0">
                  <a:pos x="5573" y="1790"/>
                </a:cxn>
                <a:cxn ang="0">
                  <a:pos x="5710" y="1848"/>
                </a:cxn>
                <a:cxn ang="0">
                  <a:pos x="5786" y="2086"/>
                </a:cxn>
                <a:cxn ang="0">
                  <a:pos x="5835" y="2229"/>
                </a:cxn>
              </a:cxnLst>
              <a:rect l="0" t="0" r="r" b="b"/>
              <a:pathLst>
                <a:path w="6099" h="2232">
                  <a:moveTo>
                    <a:pt x="3588" y="1105"/>
                  </a:moveTo>
                  <a:cubicBezTo>
                    <a:pt x="3401" y="1105"/>
                    <a:pt x="3401" y="1105"/>
                    <a:pt x="3401" y="1105"/>
                  </a:cubicBezTo>
                  <a:cubicBezTo>
                    <a:pt x="3431" y="981"/>
                    <a:pt x="3431" y="981"/>
                    <a:pt x="3431" y="981"/>
                  </a:cubicBezTo>
                  <a:cubicBezTo>
                    <a:pt x="3055" y="981"/>
                    <a:pt x="3055" y="981"/>
                    <a:pt x="3055" y="981"/>
                  </a:cubicBezTo>
                  <a:cubicBezTo>
                    <a:pt x="3024" y="1105"/>
                    <a:pt x="3024" y="1105"/>
                    <a:pt x="3024" y="1105"/>
                  </a:cubicBezTo>
                  <a:cubicBezTo>
                    <a:pt x="2843" y="1105"/>
                    <a:pt x="2843" y="1105"/>
                    <a:pt x="2843" y="1105"/>
                  </a:cubicBezTo>
                  <a:cubicBezTo>
                    <a:pt x="2843" y="1079"/>
                    <a:pt x="2843" y="1079"/>
                    <a:pt x="2843" y="1079"/>
                  </a:cubicBezTo>
                  <a:cubicBezTo>
                    <a:pt x="2845" y="1065"/>
                    <a:pt x="2848" y="1051"/>
                    <a:pt x="2851" y="1035"/>
                  </a:cubicBezTo>
                  <a:cubicBezTo>
                    <a:pt x="2884" y="901"/>
                    <a:pt x="2972" y="769"/>
                    <a:pt x="3124" y="769"/>
                  </a:cubicBezTo>
                  <a:cubicBezTo>
                    <a:pt x="3185" y="769"/>
                    <a:pt x="3244" y="792"/>
                    <a:pt x="3236" y="875"/>
                  </a:cubicBezTo>
                  <a:cubicBezTo>
                    <a:pt x="3460" y="875"/>
                    <a:pt x="3460" y="875"/>
                    <a:pt x="3460" y="875"/>
                  </a:cubicBezTo>
                  <a:cubicBezTo>
                    <a:pt x="3469" y="836"/>
                    <a:pt x="3484" y="770"/>
                    <a:pt x="3441" y="709"/>
                  </a:cubicBezTo>
                  <a:cubicBezTo>
                    <a:pt x="3394" y="643"/>
                    <a:pt x="3298" y="616"/>
                    <a:pt x="3173" y="616"/>
                  </a:cubicBezTo>
                  <a:cubicBezTo>
                    <a:pt x="3084" y="616"/>
                    <a:pt x="2955" y="631"/>
                    <a:pt x="2843" y="704"/>
                  </a:cubicBezTo>
                  <a:cubicBezTo>
                    <a:pt x="2843" y="28"/>
                    <a:pt x="2843" y="28"/>
                    <a:pt x="2843" y="28"/>
                  </a:cubicBezTo>
                  <a:cubicBezTo>
                    <a:pt x="3588" y="28"/>
                    <a:pt x="3588" y="28"/>
                    <a:pt x="3588" y="28"/>
                  </a:cubicBezTo>
                  <a:lnTo>
                    <a:pt x="3588" y="1105"/>
                  </a:lnTo>
                  <a:close/>
                  <a:moveTo>
                    <a:pt x="3148" y="1287"/>
                  </a:moveTo>
                  <a:cubicBezTo>
                    <a:pt x="3106" y="1294"/>
                    <a:pt x="3063" y="1300"/>
                    <a:pt x="3023" y="1300"/>
                  </a:cubicBezTo>
                  <a:cubicBezTo>
                    <a:pt x="2915" y="1300"/>
                    <a:pt x="2840" y="1250"/>
                    <a:pt x="2839" y="1133"/>
                  </a:cubicBezTo>
                  <a:cubicBezTo>
                    <a:pt x="3186" y="1133"/>
                    <a:pt x="3186" y="1133"/>
                    <a:pt x="3186" y="1133"/>
                  </a:cubicBezTo>
                  <a:lnTo>
                    <a:pt x="3148" y="1287"/>
                  </a:lnTo>
                  <a:close/>
                  <a:moveTo>
                    <a:pt x="2718" y="672"/>
                  </a:moveTo>
                  <a:cubicBezTo>
                    <a:pt x="2718" y="826"/>
                    <a:pt x="2718" y="826"/>
                    <a:pt x="2718" y="826"/>
                  </a:cubicBezTo>
                  <a:cubicBezTo>
                    <a:pt x="2666" y="898"/>
                    <a:pt x="2634" y="976"/>
                    <a:pt x="2619" y="1040"/>
                  </a:cubicBezTo>
                  <a:cubicBezTo>
                    <a:pt x="2613" y="1061"/>
                    <a:pt x="2609" y="1083"/>
                    <a:pt x="2607" y="1105"/>
                  </a:cubicBezTo>
                  <a:cubicBezTo>
                    <a:pt x="2497" y="1105"/>
                    <a:pt x="2497" y="1105"/>
                    <a:pt x="2497" y="1105"/>
                  </a:cubicBezTo>
                  <a:cubicBezTo>
                    <a:pt x="2591" y="660"/>
                    <a:pt x="2591" y="660"/>
                    <a:pt x="2591" y="660"/>
                  </a:cubicBezTo>
                  <a:cubicBezTo>
                    <a:pt x="2276" y="660"/>
                    <a:pt x="2276" y="660"/>
                    <a:pt x="2276" y="660"/>
                  </a:cubicBezTo>
                  <a:cubicBezTo>
                    <a:pt x="1993" y="1105"/>
                    <a:pt x="1993" y="1105"/>
                    <a:pt x="1993" y="1105"/>
                  </a:cubicBezTo>
                  <a:cubicBezTo>
                    <a:pt x="1973" y="1105"/>
                    <a:pt x="1973" y="1105"/>
                    <a:pt x="1973" y="1105"/>
                  </a:cubicBezTo>
                  <a:cubicBezTo>
                    <a:pt x="1973" y="28"/>
                    <a:pt x="1973" y="28"/>
                    <a:pt x="1973" y="28"/>
                  </a:cubicBezTo>
                  <a:cubicBezTo>
                    <a:pt x="2718" y="28"/>
                    <a:pt x="2718" y="28"/>
                    <a:pt x="2718" y="28"/>
                  </a:cubicBezTo>
                  <a:lnTo>
                    <a:pt x="2718" y="672"/>
                  </a:lnTo>
                  <a:close/>
                  <a:moveTo>
                    <a:pt x="2302" y="1105"/>
                  </a:moveTo>
                  <a:cubicBezTo>
                    <a:pt x="2190" y="1105"/>
                    <a:pt x="2190" y="1105"/>
                    <a:pt x="2190" y="1105"/>
                  </a:cubicBezTo>
                  <a:cubicBezTo>
                    <a:pt x="2360" y="838"/>
                    <a:pt x="2360" y="838"/>
                    <a:pt x="2360" y="838"/>
                  </a:cubicBezTo>
                  <a:lnTo>
                    <a:pt x="2302" y="1105"/>
                  </a:lnTo>
                  <a:close/>
                  <a:moveTo>
                    <a:pt x="1850" y="659"/>
                  </a:moveTo>
                  <a:cubicBezTo>
                    <a:pt x="1663" y="659"/>
                    <a:pt x="1663" y="659"/>
                    <a:pt x="1663" y="659"/>
                  </a:cubicBezTo>
                  <a:cubicBezTo>
                    <a:pt x="1535" y="1105"/>
                    <a:pt x="1535" y="1105"/>
                    <a:pt x="1535" y="1105"/>
                  </a:cubicBezTo>
                  <a:cubicBezTo>
                    <a:pt x="1337" y="1105"/>
                    <a:pt x="1337" y="1105"/>
                    <a:pt x="1337" y="1105"/>
                  </a:cubicBezTo>
                  <a:cubicBezTo>
                    <a:pt x="1438" y="1068"/>
                    <a:pt x="1499" y="996"/>
                    <a:pt x="1518" y="890"/>
                  </a:cubicBezTo>
                  <a:cubicBezTo>
                    <a:pt x="1534" y="809"/>
                    <a:pt x="1527" y="755"/>
                    <a:pt x="1493" y="714"/>
                  </a:cubicBezTo>
                  <a:cubicBezTo>
                    <a:pt x="1443" y="654"/>
                    <a:pt x="1342" y="659"/>
                    <a:pt x="1253" y="659"/>
                  </a:cubicBezTo>
                  <a:cubicBezTo>
                    <a:pt x="1237" y="659"/>
                    <a:pt x="1105" y="659"/>
                    <a:pt x="1105" y="659"/>
                  </a:cubicBezTo>
                  <a:cubicBezTo>
                    <a:pt x="1105" y="28"/>
                    <a:pt x="1105" y="28"/>
                    <a:pt x="1105" y="28"/>
                  </a:cubicBezTo>
                  <a:cubicBezTo>
                    <a:pt x="1850" y="28"/>
                    <a:pt x="1850" y="28"/>
                    <a:pt x="1850" y="28"/>
                  </a:cubicBezTo>
                  <a:lnTo>
                    <a:pt x="1850" y="659"/>
                  </a:lnTo>
                  <a:close/>
                  <a:moveTo>
                    <a:pt x="1730" y="1105"/>
                  </a:moveTo>
                  <a:cubicBezTo>
                    <a:pt x="1809" y="826"/>
                    <a:pt x="1809" y="826"/>
                    <a:pt x="1809" y="826"/>
                  </a:cubicBezTo>
                  <a:cubicBezTo>
                    <a:pt x="1812" y="1105"/>
                    <a:pt x="1812" y="1105"/>
                    <a:pt x="1812" y="1105"/>
                  </a:cubicBezTo>
                  <a:lnTo>
                    <a:pt x="1730" y="1105"/>
                  </a:lnTo>
                  <a:close/>
                  <a:moveTo>
                    <a:pt x="1188" y="999"/>
                  </a:moveTo>
                  <a:cubicBezTo>
                    <a:pt x="1187" y="999"/>
                    <a:pt x="1187" y="999"/>
                    <a:pt x="1187" y="999"/>
                  </a:cubicBezTo>
                  <a:cubicBezTo>
                    <a:pt x="1180" y="999"/>
                    <a:pt x="1173" y="1000"/>
                    <a:pt x="1165" y="1000"/>
                  </a:cubicBezTo>
                  <a:cubicBezTo>
                    <a:pt x="1154" y="1000"/>
                    <a:pt x="1145" y="1000"/>
                    <a:pt x="1137" y="1000"/>
                  </a:cubicBezTo>
                  <a:cubicBezTo>
                    <a:pt x="1089" y="1000"/>
                    <a:pt x="1089" y="1000"/>
                    <a:pt x="1089" y="1000"/>
                  </a:cubicBezTo>
                  <a:cubicBezTo>
                    <a:pt x="1111" y="918"/>
                    <a:pt x="1111" y="918"/>
                    <a:pt x="1111" y="918"/>
                  </a:cubicBezTo>
                  <a:cubicBezTo>
                    <a:pt x="1122" y="878"/>
                    <a:pt x="1122" y="878"/>
                    <a:pt x="1122" y="878"/>
                  </a:cubicBezTo>
                  <a:cubicBezTo>
                    <a:pt x="1147" y="783"/>
                    <a:pt x="1147" y="783"/>
                    <a:pt x="1147" y="783"/>
                  </a:cubicBezTo>
                  <a:cubicBezTo>
                    <a:pt x="1158" y="783"/>
                    <a:pt x="1169" y="782"/>
                    <a:pt x="1179" y="782"/>
                  </a:cubicBezTo>
                  <a:cubicBezTo>
                    <a:pt x="1216" y="782"/>
                    <a:pt x="1216" y="782"/>
                    <a:pt x="1216" y="782"/>
                  </a:cubicBezTo>
                  <a:cubicBezTo>
                    <a:pt x="1279" y="782"/>
                    <a:pt x="1319" y="786"/>
                    <a:pt x="1334" y="806"/>
                  </a:cubicBezTo>
                  <a:cubicBezTo>
                    <a:pt x="1345" y="822"/>
                    <a:pt x="1343" y="848"/>
                    <a:pt x="1330" y="888"/>
                  </a:cubicBezTo>
                  <a:cubicBezTo>
                    <a:pt x="1308" y="957"/>
                    <a:pt x="1279" y="992"/>
                    <a:pt x="1188" y="999"/>
                  </a:cubicBezTo>
                  <a:moveTo>
                    <a:pt x="980" y="699"/>
                  </a:moveTo>
                  <a:cubicBezTo>
                    <a:pt x="969" y="737"/>
                    <a:pt x="969" y="737"/>
                    <a:pt x="969" y="737"/>
                  </a:cubicBezTo>
                  <a:cubicBezTo>
                    <a:pt x="862" y="1092"/>
                    <a:pt x="862" y="1092"/>
                    <a:pt x="862" y="1092"/>
                  </a:cubicBezTo>
                  <a:cubicBezTo>
                    <a:pt x="858" y="1105"/>
                    <a:pt x="858" y="1105"/>
                    <a:pt x="858" y="1105"/>
                  </a:cubicBezTo>
                  <a:cubicBezTo>
                    <a:pt x="507" y="1105"/>
                    <a:pt x="507" y="1105"/>
                    <a:pt x="507" y="1105"/>
                  </a:cubicBezTo>
                  <a:cubicBezTo>
                    <a:pt x="479" y="1047"/>
                    <a:pt x="479" y="1047"/>
                    <a:pt x="479" y="1047"/>
                  </a:cubicBezTo>
                  <a:cubicBezTo>
                    <a:pt x="858" y="660"/>
                    <a:pt x="858" y="660"/>
                    <a:pt x="858" y="660"/>
                  </a:cubicBezTo>
                  <a:cubicBezTo>
                    <a:pt x="615" y="660"/>
                    <a:pt x="615" y="660"/>
                    <a:pt x="615" y="660"/>
                  </a:cubicBezTo>
                  <a:cubicBezTo>
                    <a:pt x="319" y="979"/>
                    <a:pt x="319" y="979"/>
                    <a:pt x="319" y="979"/>
                  </a:cubicBezTo>
                  <a:cubicBezTo>
                    <a:pt x="415" y="660"/>
                    <a:pt x="415" y="660"/>
                    <a:pt x="415" y="660"/>
                  </a:cubicBezTo>
                  <a:cubicBezTo>
                    <a:pt x="235" y="660"/>
                    <a:pt x="235" y="660"/>
                    <a:pt x="235" y="660"/>
                  </a:cubicBezTo>
                  <a:cubicBezTo>
                    <a:pt x="235" y="28"/>
                    <a:pt x="235" y="28"/>
                    <a:pt x="235" y="28"/>
                  </a:cubicBezTo>
                  <a:cubicBezTo>
                    <a:pt x="980" y="28"/>
                    <a:pt x="980" y="28"/>
                    <a:pt x="980" y="28"/>
                  </a:cubicBezTo>
                  <a:lnTo>
                    <a:pt x="980" y="699"/>
                  </a:lnTo>
                  <a:close/>
                  <a:moveTo>
                    <a:pt x="281" y="1105"/>
                  </a:moveTo>
                  <a:cubicBezTo>
                    <a:pt x="282" y="1101"/>
                    <a:pt x="282" y="1101"/>
                    <a:pt x="282" y="1101"/>
                  </a:cubicBezTo>
                  <a:cubicBezTo>
                    <a:pt x="285" y="1105"/>
                    <a:pt x="285" y="1105"/>
                    <a:pt x="285" y="1105"/>
                  </a:cubicBezTo>
                  <a:lnTo>
                    <a:pt x="281" y="1105"/>
                  </a:lnTo>
                  <a:close/>
                  <a:moveTo>
                    <a:pt x="2814" y="0"/>
                  </a:moveTo>
                  <a:cubicBezTo>
                    <a:pt x="2814" y="724"/>
                    <a:pt x="2814" y="724"/>
                    <a:pt x="2814" y="724"/>
                  </a:cubicBezTo>
                  <a:cubicBezTo>
                    <a:pt x="2789" y="744"/>
                    <a:pt x="2767" y="765"/>
                    <a:pt x="2747" y="788"/>
                  </a:cubicBezTo>
                  <a:cubicBezTo>
                    <a:pt x="2747" y="0"/>
                    <a:pt x="2747" y="0"/>
                    <a:pt x="2747" y="0"/>
                  </a:cubicBezTo>
                  <a:cubicBezTo>
                    <a:pt x="1945" y="0"/>
                    <a:pt x="1945" y="0"/>
                    <a:pt x="1945" y="0"/>
                  </a:cubicBezTo>
                  <a:cubicBezTo>
                    <a:pt x="1945" y="659"/>
                    <a:pt x="1945" y="659"/>
                    <a:pt x="1945" y="659"/>
                  </a:cubicBezTo>
                  <a:cubicBezTo>
                    <a:pt x="1878" y="659"/>
                    <a:pt x="1878" y="659"/>
                    <a:pt x="1878" y="659"/>
                  </a:cubicBezTo>
                  <a:cubicBezTo>
                    <a:pt x="1878" y="0"/>
                    <a:pt x="1878" y="0"/>
                    <a:pt x="1878" y="0"/>
                  </a:cubicBezTo>
                  <a:cubicBezTo>
                    <a:pt x="1076" y="0"/>
                    <a:pt x="1076" y="0"/>
                    <a:pt x="1076" y="0"/>
                  </a:cubicBezTo>
                  <a:cubicBezTo>
                    <a:pt x="1076" y="660"/>
                    <a:pt x="1076" y="660"/>
                    <a:pt x="1076" y="660"/>
                  </a:cubicBezTo>
                  <a:cubicBezTo>
                    <a:pt x="1009" y="660"/>
                    <a:pt x="1009" y="660"/>
                    <a:pt x="1009" y="660"/>
                  </a:cubicBezTo>
                  <a:cubicBezTo>
                    <a:pt x="1009" y="0"/>
                    <a:pt x="1009" y="0"/>
                    <a:pt x="1009" y="0"/>
                  </a:cubicBezTo>
                  <a:cubicBezTo>
                    <a:pt x="207" y="0"/>
                    <a:pt x="207" y="0"/>
                    <a:pt x="207" y="0"/>
                  </a:cubicBezTo>
                  <a:cubicBezTo>
                    <a:pt x="207" y="753"/>
                    <a:pt x="207" y="753"/>
                    <a:pt x="207" y="753"/>
                  </a:cubicBezTo>
                  <a:cubicBezTo>
                    <a:pt x="2" y="1435"/>
                    <a:pt x="2" y="1435"/>
                    <a:pt x="2" y="1435"/>
                  </a:cubicBezTo>
                  <a:cubicBezTo>
                    <a:pt x="182" y="1435"/>
                    <a:pt x="182" y="1435"/>
                    <a:pt x="182" y="1435"/>
                  </a:cubicBezTo>
                  <a:cubicBezTo>
                    <a:pt x="273" y="1133"/>
                    <a:pt x="273" y="1133"/>
                    <a:pt x="273" y="1133"/>
                  </a:cubicBezTo>
                  <a:cubicBezTo>
                    <a:pt x="299" y="1133"/>
                    <a:pt x="299" y="1133"/>
                    <a:pt x="299" y="1133"/>
                  </a:cubicBezTo>
                  <a:cubicBezTo>
                    <a:pt x="448" y="1435"/>
                    <a:pt x="448" y="1435"/>
                    <a:pt x="448" y="1435"/>
                  </a:cubicBezTo>
                  <a:cubicBezTo>
                    <a:pt x="665" y="1435"/>
                    <a:pt x="665" y="1435"/>
                    <a:pt x="665" y="1435"/>
                  </a:cubicBezTo>
                  <a:cubicBezTo>
                    <a:pt x="520" y="1133"/>
                    <a:pt x="520" y="1133"/>
                    <a:pt x="520" y="1133"/>
                  </a:cubicBezTo>
                  <a:cubicBezTo>
                    <a:pt x="849" y="1133"/>
                    <a:pt x="849" y="1133"/>
                    <a:pt x="849" y="1133"/>
                  </a:cubicBezTo>
                  <a:cubicBezTo>
                    <a:pt x="758" y="1435"/>
                    <a:pt x="758" y="1435"/>
                    <a:pt x="758" y="1435"/>
                  </a:cubicBezTo>
                  <a:cubicBezTo>
                    <a:pt x="955" y="1435"/>
                    <a:pt x="955" y="1435"/>
                    <a:pt x="955" y="1435"/>
                  </a:cubicBezTo>
                  <a:cubicBezTo>
                    <a:pt x="1045" y="1134"/>
                    <a:pt x="1045" y="1134"/>
                    <a:pt x="1045" y="1134"/>
                  </a:cubicBezTo>
                  <a:cubicBezTo>
                    <a:pt x="1088" y="1134"/>
                    <a:pt x="1088" y="1134"/>
                    <a:pt x="1088" y="1134"/>
                  </a:cubicBezTo>
                  <a:cubicBezTo>
                    <a:pt x="1088" y="1133"/>
                    <a:pt x="1088" y="1133"/>
                    <a:pt x="1088" y="1133"/>
                  </a:cubicBezTo>
                  <a:cubicBezTo>
                    <a:pt x="1150" y="1133"/>
                    <a:pt x="1150" y="1133"/>
                    <a:pt x="1150" y="1133"/>
                  </a:cubicBezTo>
                  <a:cubicBezTo>
                    <a:pt x="1155" y="1133"/>
                    <a:pt x="1155" y="1133"/>
                    <a:pt x="1155" y="1133"/>
                  </a:cubicBezTo>
                  <a:cubicBezTo>
                    <a:pt x="1527" y="1133"/>
                    <a:pt x="1527" y="1133"/>
                    <a:pt x="1527" y="1133"/>
                  </a:cubicBezTo>
                  <a:cubicBezTo>
                    <a:pt x="1440" y="1434"/>
                    <a:pt x="1440" y="1434"/>
                    <a:pt x="1440" y="1434"/>
                  </a:cubicBezTo>
                  <a:cubicBezTo>
                    <a:pt x="1638" y="1434"/>
                    <a:pt x="1638" y="1434"/>
                    <a:pt x="1638" y="1434"/>
                  </a:cubicBezTo>
                  <a:cubicBezTo>
                    <a:pt x="1722" y="1133"/>
                    <a:pt x="1722" y="1133"/>
                    <a:pt x="1722" y="1133"/>
                  </a:cubicBezTo>
                  <a:cubicBezTo>
                    <a:pt x="1812" y="1133"/>
                    <a:pt x="1812" y="1133"/>
                    <a:pt x="1812" y="1133"/>
                  </a:cubicBezTo>
                  <a:cubicBezTo>
                    <a:pt x="1814" y="1434"/>
                    <a:pt x="1814" y="1434"/>
                    <a:pt x="1814" y="1434"/>
                  </a:cubicBezTo>
                  <a:cubicBezTo>
                    <a:pt x="1980" y="1434"/>
                    <a:pt x="1980" y="1434"/>
                    <a:pt x="1980" y="1434"/>
                  </a:cubicBezTo>
                  <a:cubicBezTo>
                    <a:pt x="2171" y="1133"/>
                    <a:pt x="2171" y="1133"/>
                    <a:pt x="2171" y="1133"/>
                  </a:cubicBezTo>
                  <a:cubicBezTo>
                    <a:pt x="2296" y="1133"/>
                    <a:pt x="2296" y="1133"/>
                    <a:pt x="2296" y="1133"/>
                  </a:cubicBezTo>
                  <a:cubicBezTo>
                    <a:pt x="2232" y="1434"/>
                    <a:pt x="2232" y="1434"/>
                    <a:pt x="2232" y="1434"/>
                  </a:cubicBezTo>
                  <a:cubicBezTo>
                    <a:pt x="2427" y="1434"/>
                    <a:pt x="2427" y="1434"/>
                    <a:pt x="2427" y="1434"/>
                  </a:cubicBezTo>
                  <a:cubicBezTo>
                    <a:pt x="2491" y="1133"/>
                    <a:pt x="2491" y="1133"/>
                    <a:pt x="2491" y="1133"/>
                  </a:cubicBezTo>
                  <a:cubicBezTo>
                    <a:pt x="2604" y="1133"/>
                    <a:pt x="2604" y="1133"/>
                    <a:pt x="2604" y="1133"/>
                  </a:cubicBezTo>
                  <a:cubicBezTo>
                    <a:pt x="2599" y="1226"/>
                    <a:pt x="2623" y="1311"/>
                    <a:pt x="2685" y="1368"/>
                  </a:cubicBezTo>
                  <a:cubicBezTo>
                    <a:pt x="2761" y="1438"/>
                    <a:pt x="2877" y="1451"/>
                    <a:pt x="2963" y="1451"/>
                  </a:cubicBezTo>
                  <a:cubicBezTo>
                    <a:pt x="3081" y="1451"/>
                    <a:pt x="3203" y="1434"/>
                    <a:pt x="3326" y="1407"/>
                  </a:cubicBezTo>
                  <a:cubicBezTo>
                    <a:pt x="3394" y="1133"/>
                    <a:pt x="3394" y="1133"/>
                    <a:pt x="3394" y="1133"/>
                  </a:cubicBezTo>
                  <a:cubicBezTo>
                    <a:pt x="3617" y="1133"/>
                    <a:pt x="3617" y="1133"/>
                    <a:pt x="3617" y="1133"/>
                  </a:cubicBezTo>
                  <a:cubicBezTo>
                    <a:pt x="3617" y="0"/>
                    <a:pt x="3617" y="0"/>
                    <a:pt x="3617" y="0"/>
                  </a:cubicBezTo>
                  <a:lnTo>
                    <a:pt x="2814" y="0"/>
                  </a:lnTo>
                  <a:close/>
                  <a:moveTo>
                    <a:pt x="351" y="1894"/>
                  </a:moveTo>
                  <a:cubicBezTo>
                    <a:pt x="321" y="2038"/>
                    <a:pt x="321" y="2038"/>
                    <a:pt x="321" y="2038"/>
                  </a:cubicBezTo>
                  <a:cubicBezTo>
                    <a:pt x="316" y="2060"/>
                    <a:pt x="309" y="2092"/>
                    <a:pt x="348" y="2092"/>
                  </a:cubicBezTo>
                  <a:cubicBezTo>
                    <a:pt x="393" y="2092"/>
                    <a:pt x="400" y="2058"/>
                    <a:pt x="409" y="2016"/>
                  </a:cubicBezTo>
                  <a:cubicBezTo>
                    <a:pt x="435" y="1894"/>
                    <a:pt x="435" y="1894"/>
                    <a:pt x="435" y="1894"/>
                  </a:cubicBezTo>
                  <a:cubicBezTo>
                    <a:pt x="508" y="1894"/>
                    <a:pt x="508" y="1894"/>
                    <a:pt x="508" y="1894"/>
                  </a:cubicBezTo>
                  <a:cubicBezTo>
                    <a:pt x="474" y="2053"/>
                    <a:pt x="474" y="2053"/>
                    <a:pt x="474" y="2053"/>
                  </a:cubicBezTo>
                  <a:cubicBezTo>
                    <a:pt x="464" y="2106"/>
                    <a:pt x="463" y="2112"/>
                    <a:pt x="462" y="2118"/>
                  </a:cubicBezTo>
                  <a:cubicBezTo>
                    <a:pt x="461" y="2125"/>
                    <a:pt x="460" y="2130"/>
                    <a:pt x="460" y="2136"/>
                  </a:cubicBezTo>
                  <a:cubicBezTo>
                    <a:pt x="391" y="2136"/>
                    <a:pt x="391" y="2136"/>
                    <a:pt x="391" y="2136"/>
                  </a:cubicBezTo>
                  <a:cubicBezTo>
                    <a:pt x="395" y="2104"/>
                    <a:pt x="395" y="2104"/>
                    <a:pt x="395" y="2104"/>
                  </a:cubicBezTo>
                  <a:cubicBezTo>
                    <a:pt x="386" y="2115"/>
                    <a:pt x="362" y="2143"/>
                    <a:pt x="315" y="2143"/>
                  </a:cubicBezTo>
                  <a:cubicBezTo>
                    <a:pt x="283" y="2143"/>
                    <a:pt x="259" y="2128"/>
                    <a:pt x="250" y="2110"/>
                  </a:cubicBezTo>
                  <a:cubicBezTo>
                    <a:pt x="238" y="2090"/>
                    <a:pt x="245" y="2056"/>
                    <a:pt x="248" y="2045"/>
                  </a:cubicBezTo>
                  <a:cubicBezTo>
                    <a:pt x="279" y="1894"/>
                    <a:pt x="279" y="1894"/>
                    <a:pt x="279" y="1894"/>
                  </a:cubicBezTo>
                  <a:lnTo>
                    <a:pt x="351" y="1894"/>
                  </a:lnTo>
                  <a:close/>
                  <a:moveTo>
                    <a:pt x="812" y="1942"/>
                  </a:moveTo>
                  <a:cubicBezTo>
                    <a:pt x="870" y="1942"/>
                    <a:pt x="870" y="1942"/>
                    <a:pt x="870" y="1942"/>
                  </a:cubicBezTo>
                  <a:cubicBezTo>
                    <a:pt x="880" y="1895"/>
                    <a:pt x="880" y="1895"/>
                    <a:pt x="880" y="1895"/>
                  </a:cubicBezTo>
                  <a:cubicBezTo>
                    <a:pt x="822" y="1895"/>
                    <a:pt x="822" y="1895"/>
                    <a:pt x="822" y="1895"/>
                  </a:cubicBezTo>
                  <a:cubicBezTo>
                    <a:pt x="838" y="1822"/>
                    <a:pt x="838" y="1822"/>
                    <a:pt x="838" y="1822"/>
                  </a:cubicBezTo>
                  <a:cubicBezTo>
                    <a:pt x="762" y="1848"/>
                    <a:pt x="762" y="1848"/>
                    <a:pt x="762" y="1848"/>
                  </a:cubicBezTo>
                  <a:cubicBezTo>
                    <a:pt x="752" y="1895"/>
                    <a:pt x="752" y="1895"/>
                    <a:pt x="752" y="1895"/>
                  </a:cubicBezTo>
                  <a:cubicBezTo>
                    <a:pt x="654" y="1895"/>
                    <a:pt x="654" y="1895"/>
                    <a:pt x="654" y="1895"/>
                  </a:cubicBezTo>
                  <a:cubicBezTo>
                    <a:pt x="670" y="1822"/>
                    <a:pt x="670" y="1822"/>
                    <a:pt x="670" y="1822"/>
                  </a:cubicBezTo>
                  <a:cubicBezTo>
                    <a:pt x="594" y="1848"/>
                    <a:pt x="594" y="1848"/>
                    <a:pt x="594" y="1848"/>
                  </a:cubicBezTo>
                  <a:cubicBezTo>
                    <a:pt x="584" y="1895"/>
                    <a:pt x="584" y="1895"/>
                    <a:pt x="584" y="1895"/>
                  </a:cubicBezTo>
                  <a:cubicBezTo>
                    <a:pt x="537" y="1895"/>
                    <a:pt x="537" y="1895"/>
                    <a:pt x="537" y="1895"/>
                  </a:cubicBezTo>
                  <a:cubicBezTo>
                    <a:pt x="527" y="1942"/>
                    <a:pt x="527" y="1942"/>
                    <a:pt x="527" y="1942"/>
                  </a:cubicBezTo>
                  <a:cubicBezTo>
                    <a:pt x="574" y="1942"/>
                    <a:pt x="574" y="1942"/>
                    <a:pt x="574" y="1942"/>
                  </a:cubicBezTo>
                  <a:cubicBezTo>
                    <a:pt x="545" y="2075"/>
                    <a:pt x="545" y="2075"/>
                    <a:pt x="545" y="2075"/>
                  </a:cubicBezTo>
                  <a:cubicBezTo>
                    <a:pt x="541" y="2095"/>
                    <a:pt x="531" y="2141"/>
                    <a:pt x="603" y="2141"/>
                  </a:cubicBezTo>
                  <a:cubicBezTo>
                    <a:pt x="615" y="2141"/>
                    <a:pt x="636" y="2139"/>
                    <a:pt x="660" y="2133"/>
                  </a:cubicBezTo>
                  <a:cubicBezTo>
                    <a:pt x="670" y="2086"/>
                    <a:pt x="670" y="2086"/>
                    <a:pt x="670" y="2086"/>
                  </a:cubicBezTo>
                  <a:cubicBezTo>
                    <a:pt x="661" y="2087"/>
                    <a:pt x="656" y="2088"/>
                    <a:pt x="645" y="2088"/>
                  </a:cubicBezTo>
                  <a:cubicBezTo>
                    <a:pt x="614" y="2088"/>
                    <a:pt x="617" y="2074"/>
                    <a:pt x="621" y="2052"/>
                  </a:cubicBezTo>
                  <a:cubicBezTo>
                    <a:pt x="645" y="1942"/>
                    <a:pt x="645" y="1942"/>
                    <a:pt x="645" y="1942"/>
                  </a:cubicBezTo>
                  <a:cubicBezTo>
                    <a:pt x="741" y="1942"/>
                    <a:pt x="741" y="1942"/>
                    <a:pt x="741" y="1942"/>
                  </a:cubicBezTo>
                  <a:cubicBezTo>
                    <a:pt x="713" y="2075"/>
                    <a:pt x="713" y="2075"/>
                    <a:pt x="713" y="2075"/>
                  </a:cubicBezTo>
                  <a:cubicBezTo>
                    <a:pt x="709" y="2095"/>
                    <a:pt x="699" y="2141"/>
                    <a:pt x="771" y="2141"/>
                  </a:cubicBezTo>
                  <a:cubicBezTo>
                    <a:pt x="782" y="2141"/>
                    <a:pt x="804" y="2139"/>
                    <a:pt x="828" y="2133"/>
                  </a:cubicBezTo>
                  <a:cubicBezTo>
                    <a:pt x="838" y="2086"/>
                    <a:pt x="838" y="2086"/>
                    <a:pt x="838" y="2086"/>
                  </a:cubicBezTo>
                  <a:cubicBezTo>
                    <a:pt x="829" y="2087"/>
                    <a:pt x="824" y="2088"/>
                    <a:pt x="813" y="2088"/>
                  </a:cubicBezTo>
                  <a:cubicBezTo>
                    <a:pt x="781" y="2088"/>
                    <a:pt x="785" y="2074"/>
                    <a:pt x="788" y="2052"/>
                  </a:cubicBezTo>
                  <a:lnTo>
                    <a:pt x="812" y="1942"/>
                  </a:lnTo>
                  <a:close/>
                  <a:moveTo>
                    <a:pt x="916" y="1893"/>
                  </a:moveTo>
                  <a:cubicBezTo>
                    <a:pt x="987" y="1893"/>
                    <a:pt x="987" y="1893"/>
                    <a:pt x="987" y="1893"/>
                  </a:cubicBezTo>
                  <a:cubicBezTo>
                    <a:pt x="935" y="2136"/>
                    <a:pt x="935" y="2136"/>
                    <a:pt x="935" y="2136"/>
                  </a:cubicBezTo>
                  <a:cubicBezTo>
                    <a:pt x="864" y="2136"/>
                    <a:pt x="864" y="2136"/>
                    <a:pt x="864" y="2136"/>
                  </a:cubicBezTo>
                  <a:lnTo>
                    <a:pt x="916" y="1893"/>
                  </a:lnTo>
                  <a:close/>
                  <a:moveTo>
                    <a:pt x="935" y="1790"/>
                  </a:moveTo>
                  <a:cubicBezTo>
                    <a:pt x="1011" y="1790"/>
                    <a:pt x="1011" y="1790"/>
                    <a:pt x="1011" y="1790"/>
                  </a:cubicBezTo>
                  <a:cubicBezTo>
                    <a:pt x="998" y="1851"/>
                    <a:pt x="998" y="1851"/>
                    <a:pt x="998" y="1851"/>
                  </a:cubicBezTo>
                  <a:cubicBezTo>
                    <a:pt x="922" y="1851"/>
                    <a:pt x="922" y="1851"/>
                    <a:pt x="922" y="1851"/>
                  </a:cubicBezTo>
                  <a:lnTo>
                    <a:pt x="935" y="1790"/>
                  </a:lnTo>
                  <a:close/>
                  <a:moveTo>
                    <a:pt x="1034" y="1937"/>
                  </a:moveTo>
                  <a:cubicBezTo>
                    <a:pt x="1034" y="1936"/>
                    <a:pt x="1040" y="1909"/>
                    <a:pt x="1042" y="1893"/>
                  </a:cubicBezTo>
                  <a:cubicBezTo>
                    <a:pt x="1110" y="1893"/>
                    <a:pt x="1110" y="1893"/>
                    <a:pt x="1110" y="1893"/>
                  </a:cubicBezTo>
                  <a:cubicBezTo>
                    <a:pt x="1104" y="1929"/>
                    <a:pt x="1104" y="1929"/>
                    <a:pt x="1104" y="1929"/>
                  </a:cubicBezTo>
                  <a:cubicBezTo>
                    <a:pt x="1113" y="1918"/>
                    <a:pt x="1139" y="1887"/>
                    <a:pt x="1192" y="1887"/>
                  </a:cubicBezTo>
                  <a:cubicBezTo>
                    <a:pt x="1239" y="1887"/>
                    <a:pt x="1254" y="1916"/>
                    <a:pt x="1256" y="1933"/>
                  </a:cubicBezTo>
                  <a:cubicBezTo>
                    <a:pt x="1259" y="1948"/>
                    <a:pt x="1257" y="1960"/>
                    <a:pt x="1248" y="2005"/>
                  </a:cubicBezTo>
                  <a:cubicBezTo>
                    <a:pt x="1220" y="2136"/>
                    <a:pt x="1220" y="2136"/>
                    <a:pt x="1220" y="2136"/>
                  </a:cubicBezTo>
                  <a:cubicBezTo>
                    <a:pt x="1147" y="2136"/>
                    <a:pt x="1147" y="2136"/>
                    <a:pt x="1147" y="2136"/>
                  </a:cubicBezTo>
                  <a:cubicBezTo>
                    <a:pt x="1179" y="1985"/>
                    <a:pt x="1179" y="1985"/>
                    <a:pt x="1179" y="1985"/>
                  </a:cubicBezTo>
                  <a:cubicBezTo>
                    <a:pt x="1181" y="1975"/>
                    <a:pt x="1183" y="1967"/>
                    <a:pt x="1181" y="1959"/>
                  </a:cubicBezTo>
                  <a:cubicBezTo>
                    <a:pt x="1178" y="1949"/>
                    <a:pt x="1169" y="1938"/>
                    <a:pt x="1151" y="1938"/>
                  </a:cubicBezTo>
                  <a:cubicBezTo>
                    <a:pt x="1136" y="1938"/>
                    <a:pt x="1120" y="1946"/>
                    <a:pt x="1110" y="1957"/>
                  </a:cubicBezTo>
                  <a:cubicBezTo>
                    <a:pt x="1104" y="1963"/>
                    <a:pt x="1097" y="1975"/>
                    <a:pt x="1093" y="1994"/>
                  </a:cubicBezTo>
                  <a:cubicBezTo>
                    <a:pt x="1063" y="2136"/>
                    <a:pt x="1063" y="2136"/>
                    <a:pt x="1063" y="2136"/>
                  </a:cubicBezTo>
                  <a:cubicBezTo>
                    <a:pt x="992" y="2136"/>
                    <a:pt x="992" y="2136"/>
                    <a:pt x="992" y="2136"/>
                  </a:cubicBezTo>
                  <a:lnTo>
                    <a:pt x="1034" y="1937"/>
                  </a:lnTo>
                  <a:close/>
                  <a:moveTo>
                    <a:pt x="1558" y="1895"/>
                  </a:moveTo>
                  <a:cubicBezTo>
                    <a:pt x="1552" y="1914"/>
                    <a:pt x="1547" y="1930"/>
                    <a:pt x="1542" y="1955"/>
                  </a:cubicBezTo>
                  <a:cubicBezTo>
                    <a:pt x="1504" y="2134"/>
                    <a:pt x="1504" y="2134"/>
                    <a:pt x="1504" y="2134"/>
                  </a:cubicBezTo>
                  <a:cubicBezTo>
                    <a:pt x="1486" y="2223"/>
                    <a:pt x="1409" y="2232"/>
                    <a:pt x="1363" y="2232"/>
                  </a:cubicBezTo>
                  <a:cubicBezTo>
                    <a:pt x="1328" y="2232"/>
                    <a:pt x="1261" y="2228"/>
                    <a:pt x="1272" y="2154"/>
                  </a:cubicBezTo>
                  <a:cubicBezTo>
                    <a:pt x="1340" y="2154"/>
                    <a:pt x="1340" y="2154"/>
                    <a:pt x="1340" y="2154"/>
                  </a:cubicBezTo>
                  <a:cubicBezTo>
                    <a:pt x="1340" y="2158"/>
                    <a:pt x="1339" y="2166"/>
                    <a:pt x="1344" y="2174"/>
                  </a:cubicBezTo>
                  <a:cubicBezTo>
                    <a:pt x="1348" y="2181"/>
                    <a:pt x="1357" y="2188"/>
                    <a:pt x="1375" y="2188"/>
                  </a:cubicBezTo>
                  <a:cubicBezTo>
                    <a:pt x="1397" y="2188"/>
                    <a:pt x="1417" y="2178"/>
                    <a:pt x="1427" y="2156"/>
                  </a:cubicBezTo>
                  <a:cubicBezTo>
                    <a:pt x="1432" y="2144"/>
                    <a:pt x="1434" y="2135"/>
                    <a:pt x="1442" y="2099"/>
                  </a:cubicBezTo>
                  <a:cubicBezTo>
                    <a:pt x="1413" y="2128"/>
                    <a:pt x="1387" y="2132"/>
                    <a:pt x="1370" y="2132"/>
                  </a:cubicBezTo>
                  <a:cubicBezTo>
                    <a:pt x="1300" y="2132"/>
                    <a:pt x="1280" y="2071"/>
                    <a:pt x="1293" y="2012"/>
                  </a:cubicBezTo>
                  <a:cubicBezTo>
                    <a:pt x="1306" y="1951"/>
                    <a:pt x="1352" y="1892"/>
                    <a:pt x="1422" y="1892"/>
                  </a:cubicBezTo>
                  <a:cubicBezTo>
                    <a:pt x="1466" y="1892"/>
                    <a:pt x="1477" y="1916"/>
                    <a:pt x="1482" y="1927"/>
                  </a:cubicBezTo>
                  <a:cubicBezTo>
                    <a:pt x="1492" y="1895"/>
                    <a:pt x="1492" y="1895"/>
                    <a:pt x="1492" y="1895"/>
                  </a:cubicBezTo>
                  <a:lnTo>
                    <a:pt x="1558" y="1895"/>
                  </a:lnTo>
                  <a:close/>
                  <a:moveTo>
                    <a:pt x="1397" y="2083"/>
                  </a:moveTo>
                  <a:cubicBezTo>
                    <a:pt x="1447" y="2083"/>
                    <a:pt x="1459" y="2025"/>
                    <a:pt x="1461" y="2014"/>
                  </a:cubicBezTo>
                  <a:cubicBezTo>
                    <a:pt x="1467" y="1986"/>
                    <a:pt x="1472" y="1940"/>
                    <a:pt x="1428" y="1940"/>
                  </a:cubicBezTo>
                  <a:cubicBezTo>
                    <a:pt x="1401" y="1940"/>
                    <a:pt x="1375" y="1960"/>
                    <a:pt x="1364" y="2012"/>
                  </a:cubicBezTo>
                  <a:cubicBezTo>
                    <a:pt x="1362" y="2025"/>
                    <a:pt x="1349" y="2083"/>
                    <a:pt x="1397" y="2083"/>
                  </a:cubicBezTo>
                  <a:moveTo>
                    <a:pt x="1842" y="2133"/>
                  </a:moveTo>
                  <a:cubicBezTo>
                    <a:pt x="1818" y="2139"/>
                    <a:pt x="1797" y="2141"/>
                    <a:pt x="1786" y="2141"/>
                  </a:cubicBezTo>
                  <a:cubicBezTo>
                    <a:pt x="1714" y="2141"/>
                    <a:pt x="1723" y="2095"/>
                    <a:pt x="1728" y="2075"/>
                  </a:cubicBezTo>
                  <a:cubicBezTo>
                    <a:pt x="1756" y="1942"/>
                    <a:pt x="1756" y="1942"/>
                    <a:pt x="1756" y="1942"/>
                  </a:cubicBezTo>
                  <a:cubicBezTo>
                    <a:pt x="1710" y="1942"/>
                    <a:pt x="1710" y="1942"/>
                    <a:pt x="1710" y="1942"/>
                  </a:cubicBezTo>
                  <a:cubicBezTo>
                    <a:pt x="1719" y="1895"/>
                    <a:pt x="1719" y="1895"/>
                    <a:pt x="1719" y="1895"/>
                  </a:cubicBezTo>
                  <a:cubicBezTo>
                    <a:pt x="1766" y="1895"/>
                    <a:pt x="1766" y="1895"/>
                    <a:pt x="1766" y="1895"/>
                  </a:cubicBezTo>
                  <a:cubicBezTo>
                    <a:pt x="1776" y="1848"/>
                    <a:pt x="1776" y="1848"/>
                    <a:pt x="1776" y="1848"/>
                  </a:cubicBezTo>
                  <a:cubicBezTo>
                    <a:pt x="1852" y="1822"/>
                    <a:pt x="1852" y="1822"/>
                    <a:pt x="1852" y="1822"/>
                  </a:cubicBezTo>
                  <a:cubicBezTo>
                    <a:pt x="1837" y="1895"/>
                    <a:pt x="1837" y="1895"/>
                    <a:pt x="1837" y="1895"/>
                  </a:cubicBezTo>
                  <a:cubicBezTo>
                    <a:pt x="1895" y="1895"/>
                    <a:pt x="1895" y="1895"/>
                    <a:pt x="1895" y="1895"/>
                  </a:cubicBezTo>
                  <a:cubicBezTo>
                    <a:pt x="1884" y="1942"/>
                    <a:pt x="1884" y="1942"/>
                    <a:pt x="1884" y="1942"/>
                  </a:cubicBezTo>
                  <a:cubicBezTo>
                    <a:pt x="1827" y="1942"/>
                    <a:pt x="1827" y="1942"/>
                    <a:pt x="1827" y="1942"/>
                  </a:cubicBezTo>
                  <a:cubicBezTo>
                    <a:pt x="1803" y="2052"/>
                    <a:pt x="1803" y="2052"/>
                    <a:pt x="1803" y="2052"/>
                  </a:cubicBezTo>
                  <a:cubicBezTo>
                    <a:pt x="1799" y="2074"/>
                    <a:pt x="1796" y="2088"/>
                    <a:pt x="1828" y="2088"/>
                  </a:cubicBezTo>
                  <a:cubicBezTo>
                    <a:pt x="1838" y="2088"/>
                    <a:pt x="1844" y="2087"/>
                    <a:pt x="1852" y="2086"/>
                  </a:cubicBezTo>
                  <a:lnTo>
                    <a:pt x="1842" y="2133"/>
                  </a:lnTo>
                  <a:close/>
                  <a:moveTo>
                    <a:pt x="1954" y="1790"/>
                  </a:moveTo>
                  <a:cubicBezTo>
                    <a:pt x="2025" y="1790"/>
                    <a:pt x="2025" y="1790"/>
                    <a:pt x="2025" y="1790"/>
                  </a:cubicBezTo>
                  <a:cubicBezTo>
                    <a:pt x="1996" y="1927"/>
                    <a:pt x="1996" y="1927"/>
                    <a:pt x="1996" y="1927"/>
                  </a:cubicBezTo>
                  <a:cubicBezTo>
                    <a:pt x="2007" y="1915"/>
                    <a:pt x="2030" y="1890"/>
                    <a:pt x="2074" y="1890"/>
                  </a:cubicBezTo>
                  <a:cubicBezTo>
                    <a:pt x="2110" y="1890"/>
                    <a:pt x="2129" y="1908"/>
                    <a:pt x="2137" y="1923"/>
                  </a:cubicBezTo>
                  <a:cubicBezTo>
                    <a:pt x="2143" y="1935"/>
                    <a:pt x="2146" y="1957"/>
                    <a:pt x="2139" y="1989"/>
                  </a:cubicBezTo>
                  <a:cubicBezTo>
                    <a:pt x="2108" y="2136"/>
                    <a:pt x="2108" y="2136"/>
                    <a:pt x="2108" y="2136"/>
                  </a:cubicBezTo>
                  <a:cubicBezTo>
                    <a:pt x="2037" y="2136"/>
                    <a:pt x="2037" y="2136"/>
                    <a:pt x="2037" y="2136"/>
                  </a:cubicBezTo>
                  <a:cubicBezTo>
                    <a:pt x="2068" y="1991"/>
                    <a:pt x="2068" y="1991"/>
                    <a:pt x="2068" y="1991"/>
                  </a:cubicBezTo>
                  <a:cubicBezTo>
                    <a:pt x="2071" y="1977"/>
                    <a:pt x="2079" y="1938"/>
                    <a:pt x="2040" y="1938"/>
                  </a:cubicBezTo>
                  <a:cubicBezTo>
                    <a:pt x="2019" y="1938"/>
                    <a:pt x="1991" y="1950"/>
                    <a:pt x="1983" y="1988"/>
                  </a:cubicBezTo>
                  <a:cubicBezTo>
                    <a:pt x="1952" y="2136"/>
                    <a:pt x="1952" y="2136"/>
                    <a:pt x="1952" y="2136"/>
                  </a:cubicBezTo>
                  <a:cubicBezTo>
                    <a:pt x="1881" y="2136"/>
                    <a:pt x="1881" y="2136"/>
                    <a:pt x="1881" y="2136"/>
                  </a:cubicBezTo>
                  <a:lnTo>
                    <a:pt x="1954" y="1790"/>
                  </a:lnTo>
                  <a:close/>
                  <a:moveTo>
                    <a:pt x="2195" y="1953"/>
                  </a:moveTo>
                  <a:cubicBezTo>
                    <a:pt x="2197" y="1942"/>
                    <a:pt x="2203" y="1906"/>
                    <a:pt x="2205" y="1893"/>
                  </a:cubicBezTo>
                  <a:cubicBezTo>
                    <a:pt x="2271" y="1893"/>
                    <a:pt x="2271" y="1893"/>
                    <a:pt x="2271" y="1893"/>
                  </a:cubicBezTo>
                  <a:cubicBezTo>
                    <a:pt x="2263" y="1939"/>
                    <a:pt x="2263" y="1939"/>
                    <a:pt x="2263" y="1939"/>
                  </a:cubicBezTo>
                  <a:cubicBezTo>
                    <a:pt x="2276" y="1919"/>
                    <a:pt x="2298" y="1889"/>
                    <a:pt x="2356" y="1892"/>
                  </a:cubicBezTo>
                  <a:cubicBezTo>
                    <a:pt x="2342" y="1956"/>
                    <a:pt x="2342" y="1956"/>
                    <a:pt x="2342" y="1956"/>
                  </a:cubicBezTo>
                  <a:cubicBezTo>
                    <a:pt x="2271" y="1949"/>
                    <a:pt x="2259" y="1986"/>
                    <a:pt x="2253" y="2017"/>
                  </a:cubicBezTo>
                  <a:cubicBezTo>
                    <a:pt x="2227" y="2136"/>
                    <a:pt x="2227" y="2136"/>
                    <a:pt x="2227" y="2136"/>
                  </a:cubicBezTo>
                  <a:cubicBezTo>
                    <a:pt x="2156" y="2136"/>
                    <a:pt x="2156" y="2136"/>
                    <a:pt x="2156" y="2136"/>
                  </a:cubicBezTo>
                  <a:lnTo>
                    <a:pt x="2195" y="1953"/>
                  </a:lnTo>
                  <a:close/>
                  <a:moveTo>
                    <a:pt x="2503" y="1888"/>
                  </a:moveTo>
                  <a:cubicBezTo>
                    <a:pt x="2591" y="1888"/>
                    <a:pt x="2617" y="1948"/>
                    <a:pt x="2602" y="2015"/>
                  </a:cubicBezTo>
                  <a:cubicBezTo>
                    <a:pt x="2587" y="2083"/>
                    <a:pt x="2535" y="2145"/>
                    <a:pt x="2447" y="2145"/>
                  </a:cubicBezTo>
                  <a:cubicBezTo>
                    <a:pt x="2378" y="2145"/>
                    <a:pt x="2332" y="2102"/>
                    <a:pt x="2350" y="2017"/>
                  </a:cubicBezTo>
                  <a:cubicBezTo>
                    <a:pt x="2362" y="1959"/>
                    <a:pt x="2408" y="1888"/>
                    <a:pt x="2503" y="1888"/>
                  </a:cubicBezTo>
                  <a:moveTo>
                    <a:pt x="2460" y="2095"/>
                  </a:moveTo>
                  <a:cubicBezTo>
                    <a:pt x="2491" y="2095"/>
                    <a:pt x="2516" y="2077"/>
                    <a:pt x="2530" y="2012"/>
                  </a:cubicBezTo>
                  <a:cubicBezTo>
                    <a:pt x="2537" y="1980"/>
                    <a:pt x="2540" y="1935"/>
                    <a:pt x="2493" y="1935"/>
                  </a:cubicBezTo>
                  <a:cubicBezTo>
                    <a:pt x="2441" y="1935"/>
                    <a:pt x="2427" y="1995"/>
                    <a:pt x="2423" y="2018"/>
                  </a:cubicBezTo>
                  <a:cubicBezTo>
                    <a:pt x="2411" y="2072"/>
                    <a:pt x="2425" y="2095"/>
                    <a:pt x="2460" y="2095"/>
                  </a:cubicBezTo>
                  <a:moveTo>
                    <a:pt x="2743" y="1894"/>
                  </a:moveTo>
                  <a:cubicBezTo>
                    <a:pt x="2713" y="2038"/>
                    <a:pt x="2713" y="2038"/>
                    <a:pt x="2713" y="2038"/>
                  </a:cubicBezTo>
                  <a:cubicBezTo>
                    <a:pt x="2708" y="2060"/>
                    <a:pt x="2701" y="2092"/>
                    <a:pt x="2740" y="2092"/>
                  </a:cubicBezTo>
                  <a:cubicBezTo>
                    <a:pt x="2785" y="2092"/>
                    <a:pt x="2792" y="2058"/>
                    <a:pt x="2801" y="2016"/>
                  </a:cubicBezTo>
                  <a:cubicBezTo>
                    <a:pt x="2827" y="1894"/>
                    <a:pt x="2827" y="1894"/>
                    <a:pt x="2827" y="1894"/>
                  </a:cubicBezTo>
                  <a:cubicBezTo>
                    <a:pt x="2900" y="1894"/>
                    <a:pt x="2900" y="1894"/>
                    <a:pt x="2900" y="1894"/>
                  </a:cubicBezTo>
                  <a:cubicBezTo>
                    <a:pt x="2867" y="2053"/>
                    <a:pt x="2867" y="2053"/>
                    <a:pt x="2867" y="2053"/>
                  </a:cubicBezTo>
                  <a:cubicBezTo>
                    <a:pt x="2856" y="2106"/>
                    <a:pt x="2855" y="2112"/>
                    <a:pt x="2854" y="2118"/>
                  </a:cubicBezTo>
                  <a:cubicBezTo>
                    <a:pt x="2853" y="2125"/>
                    <a:pt x="2852" y="2130"/>
                    <a:pt x="2852" y="2136"/>
                  </a:cubicBezTo>
                  <a:cubicBezTo>
                    <a:pt x="2783" y="2136"/>
                    <a:pt x="2783" y="2136"/>
                    <a:pt x="2783" y="2136"/>
                  </a:cubicBezTo>
                  <a:cubicBezTo>
                    <a:pt x="2787" y="2104"/>
                    <a:pt x="2787" y="2104"/>
                    <a:pt x="2787" y="2104"/>
                  </a:cubicBezTo>
                  <a:cubicBezTo>
                    <a:pt x="2778" y="2115"/>
                    <a:pt x="2753" y="2143"/>
                    <a:pt x="2707" y="2143"/>
                  </a:cubicBezTo>
                  <a:cubicBezTo>
                    <a:pt x="2675" y="2143"/>
                    <a:pt x="2651" y="2128"/>
                    <a:pt x="2641" y="2110"/>
                  </a:cubicBezTo>
                  <a:cubicBezTo>
                    <a:pt x="2630" y="2090"/>
                    <a:pt x="2637" y="2056"/>
                    <a:pt x="2639" y="2045"/>
                  </a:cubicBezTo>
                  <a:cubicBezTo>
                    <a:pt x="2671" y="1894"/>
                    <a:pt x="2671" y="1894"/>
                    <a:pt x="2671" y="1894"/>
                  </a:cubicBezTo>
                  <a:lnTo>
                    <a:pt x="2743" y="1894"/>
                  </a:lnTo>
                  <a:close/>
                  <a:moveTo>
                    <a:pt x="3181" y="1895"/>
                  </a:moveTo>
                  <a:cubicBezTo>
                    <a:pt x="3175" y="1914"/>
                    <a:pt x="3170" y="1930"/>
                    <a:pt x="3164" y="1955"/>
                  </a:cubicBezTo>
                  <a:cubicBezTo>
                    <a:pt x="3126" y="2134"/>
                    <a:pt x="3126" y="2134"/>
                    <a:pt x="3126" y="2134"/>
                  </a:cubicBezTo>
                  <a:cubicBezTo>
                    <a:pt x="3108" y="2223"/>
                    <a:pt x="3031" y="2232"/>
                    <a:pt x="2985" y="2232"/>
                  </a:cubicBezTo>
                  <a:cubicBezTo>
                    <a:pt x="2950" y="2232"/>
                    <a:pt x="2883" y="2228"/>
                    <a:pt x="2894" y="2154"/>
                  </a:cubicBezTo>
                  <a:cubicBezTo>
                    <a:pt x="2962" y="2154"/>
                    <a:pt x="2962" y="2154"/>
                    <a:pt x="2962" y="2154"/>
                  </a:cubicBezTo>
                  <a:cubicBezTo>
                    <a:pt x="2962" y="2158"/>
                    <a:pt x="2962" y="2166"/>
                    <a:pt x="2966" y="2174"/>
                  </a:cubicBezTo>
                  <a:cubicBezTo>
                    <a:pt x="2970" y="2181"/>
                    <a:pt x="2979" y="2188"/>
                    <a:pt x="2998" y="2188"/>
                  </a:cubicBezTo>
                  <a:cubicBezTo>
                    <a:pt x="3019" y="2188"/>
                    <a:pt x="3040" y="2178"/>
                    <a:pt x="3049" y="2156"/>
                  </a:cubicBezTo>
                  <a:cubicBezTo>
                    <a:pt x="3054" y="2144"/>
                    <a:pt x="3056" y="2135"/>
                    <a:pt x="3064" y="2099"/>
                  </a:cubicBezTo>
                  <a:cubicBezTo>
                    <a:pt x="3036" y="2128"/>
                    <a:pt x="3009" y="2132"/>
                    <a:pt x="2992" y="2132"/>
                  </a:cubicBezTo>
                  <a:cubicBezTo>
                    <a:pt x="2922" y="2132"/>
                    <a:pt x="2903" y="2071"/>
                    <a:pt x="2915" y="2012"/>
                  </a:cubicBezTo>
                  <a:cubicBezTo>
                    <a:pt x="2928" y="1951"/>
                    <a:pt x="2974" y="1892"/>
                    <a:pt x="3044" y="1892"/>
                  </a:cubicBezTo>
                  <a:cubicBezTo>
                    <a:pt x="3088" y="1892"/>
                    <a:pt x="3099" y="1916"/>
                    <a:pt x="3105" y="1927"/>
                  </a:cubicBezTo>
                  <a:cubicBezTo>
                    <a:pt x="3114" y="1895"/>
                    <a:pt x="3114" y="1895"/>
                    <a:pt x="3114" y="1895"/>
                  </a:cubicBezTo>
                  <a:lnTo>
                    <a:pt x="3181" y="1895"/>
                  </a:lnTo>
                  <a:close/>
                  <a:moveTo>
                    <a:pt x="3019" y="2083"/>
                  </a:moveTo>
                  <a:cubicBezTo>
                    <a:pt x="3069" y="2083"/>
                    <a:pt x="3081" y="2025"/>
                    <a:pt x="3083" y="2014"/>
                  </a:cubicBezTo>
                  <a:cubicBezTo>
                    <a:pt x="3089" y="1986"/>
                    <a:pt x="3094" y="1940"/>
                    <a:pt x="3051" y="1940"/>
                  </a:cubicBezTo>
                  <a:cubicBezTo>
                    <a:pt x="3024" y="1940"/>
                    <a:pt x="2997" y="1960"/>
                    <a:pt x="2986" y="2012"/>
                  </a:cubicBezTo>
                  <a:cubicBezTo>
                    <a:pt x="2984" y="2025"/>
                    <a:pt x="2971" y="2083"/>
                    <a:pt x="3019" y="2083"/>
                  </a:cubicBezTo>
                  <a:moveTo>
                    <a:pt x="3257" y="1790"/>
                  </a:moveTo>
                  <a:cubicBezTo>
                    <a:pt x="3327" y="1790"/>
                    <a:pt x="3327" y="1790"/>
                    <a:pt x="3327" y="1790"/>
                  </a:cubicBezTo>
                  <a:cubicBezTo>
                    <a:pt x="3298" y="1927"/>
                    <a:pt x="3298" y="1927"/>
                    <a:pt x="3298" y="1927"/>
                  </a:cubicBezTo>
                  <a:cubicBezTo>
                    <a:pt x="3309" y="1915"/>
                    <a:pt x="3332" y="1890"/>
                    <a:pt x="3376" y="1890"/>
                  </a:cubicBezTo>
                  <a:cubicBezTo>
                    <a:pt x="3412" y="1890"/>
                    <a:pt x="3431" y="1908"/>
                    <a:pt x="3440" y="1923"/>
                  </a:cubicBezTo>
                  <a:cubicBezTo>
                    <a:pt x="3446" y="1935"/>
                    <a:pt x="3448" y="1957"/>
                    <a:pt x="3441" y="1989"/>
                  </a:cubicBezTo>
                  <a:cubicBezTo>
                    <a:pt x="3410" y="2136"/>
                    <a:pt x="3410" y="2136"/>
                    <a:pt x="3410" y="2136"/>
                  </a:cubicBezTo>
                  <a:cubicBezTo>
                    <a:pt x="3340" y="2136"/>
                    <a:pt x="3340" y="2136"/>
                    <a:pt x="3340" y="2136"/>
                  </a:cubicBezTo>
                  <a:cubicBezTo>
                    <a:pt x="3370" y="1991"/>
                    <a:pt x="3370" y="1991"/>
                    <a:pt x="3370" y="1991"/>
                  </a:cubicBezTo>
                  <a:cubicBezTo>
                    <a:pt x="3373" y="1977"/>
                    <a:pt x="3382" y="1938"/>
                    <a:pt x="3342" y="1938"/>
                  </a:cubicBezTo>
                  <a:cubicBezTo>
                    <a:pt x="3322" y="1938"/>
                    <a:pt x="3293" y="1950"/>
                    <a:pt x="3286" y="1988"/>
                  </a:cubicBezTo>
                  <a:cubicBezTo>
                    <a:pt x="3255" y="2136"/>
                    <a:pt x="3255" y="2136"/>
                    <a:pt x="3255" y="2136"/>
                  </a:cubicBezTo>
                  <a:cubicBezTo>
                    <a:pt x="3183" y="2136"/>
                    <a:pt x="3183" y="2136"/>
                    <a:pt x="3183" y="2136"/>
                  </a:cubicBezTo>
                  <a:lnTo>
                    <a:pt x="3257" y="1790"/>
                  </a:lnTo>
                  <a:close/>
                  <a:moveTo>
                    <a:pt x="158" y="1980"/>
                  </a:moveTo>
                  <a:cubicBezTo>
                    <a:pt x="159" y="1971"/>
                    <a:pt x="164" y="1935"/>
                    <a:pt x="137" y="1935"/>
                  </a:cubicBezTo>
                  <a:cubicBezTo>
                    <a:pt x="103" y="1935"/>
                    <a:pt x="89" y="1986"/>
                    <a:pt x="83" y="2012"/>
                  </a:cubicBezTo>
                  <a:cubicBezTo>
                    <a:pt x="80" y="2026"/>
                    <a:pt x="72" y="2069"/>
                    <a:pt x="85" y="2087"/>
                  </a:cubicBezTo>
                  <a:cubicBezTo>
                    <a:pt x="90" y="2094"/>
                    <a:pt x="97" y="2095"/>
                    <a:pt x="102" y="2095"/>
                  </a:cubicBezTo>
                  <a:cubicBezTo>
                    <a:pt x="109" y="2095"/>
                    <a:pt x="133" y="2092"/>
                    <a:pt x="145" y="2048"/>
                  </a:cubicBezTo>
                  <a:cubicBezTo>
                    <a:pt x="215" y="2048"/>
                    <a:pt x="215" y="2048"/>
                    <a:pt x="215" y="2048"/>
                  </a:cubicBezTo>
                  <a:cubicBezTo>
                    <a:pt x="210" y="2067"/>
                    <a:pt x="201" y="2097"/>
                    <a:pt x="168" y="2120"/>
                  </a:cubicBezTo>
                  <a:cubicBezTo>
                    <a:pt x="148" y="2135"/>
                    <a:pt x="124" y="2143"/>
                    <a:pt x="94" y="2143"/>
                  </a:cubicBezTo>
                  <a:cubicBezTo>
                    <a:pt x="62" y="2143"/>
                    <a:pt x="35" y="2135"/>
                    <a:pt x="18" y="2110"/>
                  </a:cubicBezTo>
                  <a:cubicBezTo>
                    <a:pt x="2" y="2086"/>
                    <a:pt x="0" y="2053"/>
                    <a:pt x="8" y="2015"/>
                  </a:cubicBezTo>
                  <a:cubicBezTo>
                    <a:pt x="32" y="1904"/>
                    <a:pt x="116" y="1889"/>
                    <a:pt x="148" y="1889"/>
                  </a:cubicBezTo>
                  <a:cubicBezTo>
                    <a:pt x="193" y="1889"/>
                    <a:pt x="241" y="1914"/>
                    <a:pt x="228" y="1980"/>
                  </a:cubicBezTo>
                  <a:lnTo>
                    <a:pt x="158" y="1980"/>
                  </a:lnTo>
                  <a:close/>
                  <a:moveTo>
                    <a:pt x="3764" y="1980"/>
                  </a:moveTo>
                  <a:cubicBezTo>
                    <a:pt x="3765" y="1971"/>
                    <a:pt x="3770" y="1935"/>
                    <a:pt x="3742" y="1935"/>
                  </a:cubicBezTo>
                  <a:cubicBezTo>
                    <a:pt x="3709" y="1935"/>
                    <a:pt x="3694" y="1986"/>
                    <a:pt x="3688" y="2012"/>
                  </a:cubicBezTo>
                  <a:cubicBezTo>
                    <a:pt x="3685" y="2026"/>
                    <a:pt x="3678" y="2069"/>
                    <a:pt x="3691" y="2087"/>
                  </a:cubicBezTo>
                  <a:cubicBezTo>
                    <a:pt x="3695" y="2094"/>
                    <a:pt x="3703" y="2095"/>
                    <a:pt x="3708" y="2095"/>
                  </a:cubicBezTo>
                  <a:cubicBezTo>
                    <a:pt x="3715" y="2095"/>
                    <a:pt x="3738" y="2092"/>
                    <a:pt x="3751" y="2048"/>
                  </a:cubicBezTo>
                  <a:cubicBezTo>
                    <a:pt x="3820" y="2048"/>
                    <a:pt x="3820" y="2048"/>
                    <a:pt x="3820" y="2048"/>
                  </a:cubicBezTo>
                  <a:cubicBezTo>
                    <a:pt x="3816" y="2067"/>
                    <a:pt x="3807" y="2097"/>
                    <a:pt x="3774" y="2120"/>
                  </a:cubicBezTo>
                  <a:cubicBezTo>
                    <a:pt x="3754" y="2135"/>
                    <a:pt x="3730" y="2143"/>
                    <a:pt x="3700" y="2143"/>
                  </a:cubicBezTo>
                  <a:cubicBezTo>
                    <a:pt x="3668" y="2143"/>
                    <a:pt x="3641" y="2135"/>
                    <a:pt x="3624" y="2110"/>
                  </a:cubicBezTo>
                  <a:cubicBezTo>
                    <a:pt x="3608" y="2086"/>
                    <a:pt x="3606" y="2053"/>
                    <a:pt x="3614" y="2015"/>
                  </a:cubicBezTo>
                  <a:cubicBezTo>
                    <a:pt x="3638" y="1904"/>
                    <a:pt x="3722" y="1889"/>
                    <a:pt x="3754" y="1889"/>
                  </a:cubicBezTo>
                  <a:cubicBezTo>
                    <a:pt x="3799" y="1889"/>
                    <a:pt x="3847" y="1914"/>
                    <a:pt x="3834" y="1980"/>
                  </a:cubicBezTo>
                  <a:lnTo>
                    <a:pt x="3764" y="1980"/>
                  </a:lnTo>
                  <a:close/>
                  <a:moveTo>
                    <a:pt x="4010" y="1888"/>
                  </a:moveTo>
                  <a:cubicBezTo>
                    <a:pt x="4098" y="1888"/>
                    <a:pt x="4123" y="1948"/>
                    <a:pt x="4109" y="2015"/>
                  </a:cubicBezTo>
                  <a:cubicBezTo>
                    <a:pt x="4094" y="2083"/>
                    <a:pt x="4042" y="2145"/>
                    <a:pt x="3954" y="2145"/>
                  </a:cubicBezTo>
                  <a:cubicBezTo>
                    <a:pt x="3884" y="2145"/>
                    <a:pt x="3839" y="2102"/>
                    <a:pt x="3857" y="2017"/>
                  </a:cubicBezTo>
                  <a:cubicBezTo>
                    <a:pt x="3870" y="1959"/>
                    <a:pt x="3914" y="1888"/>
                    <a:pt x="4010" y="1888"/>
                  </a:cubicBezTo>
                  <a:moveTo>
                    <a:pt x="3967" y="2095"/>
                  </a:moveTo>
                  <a:cubicBezTo>
                    <a:pt x="3998" y="2095"/>
                    <a:pt x="4023" y="2077"/>
                    <a:pt x="4037" y="2012"/>
                  </a:cubicBezTo>
                  <a:cubicBezTo>
                    <a:pt x="4044" y="1980"/>
                    <a:pt x="4047" y="1935"/>
                    <a:pt x="4000" y="1935"/>
                  </a:cubicBezTo>
                  <a:cubicBezTo>
                    <a:pt x="3948" y="1935"/>
                    <a:pt x="3935" y="1995"/>
                    <a:pt x="3930" y="2018"/>
                  </a:cubicBezTo>
                  <a:cubicBezTo>
                    <a:pt x="3918" y="2072"/>
                    <a:pt x="3932" y="2095"/>
                    <a:pt x="3967" y="2095"/>
                  </a:cubicBezTo>
                  <a:moveTo>
                    <a:pt x="4173" y="1939"/>
                  </a:moveTo>
                  <a:cubicBezTo>
                    <a:pt x="4176" y="1924"/>
                    <a:pt x="4178" y="1909"/>
                    <a:pt x="4180" y="1894"/>
                  </a:cubicBezTo>
                  <a:cubicBezTo>
                    <a:pt x="4248" y="1894"/>
                    <a:pt x="4248" y="1894"/>
                    <a:pt x="4248" y="1894"/>
                  </a:cubicBezTo>
                  <a:cubicBezTo>
                    <a:pt x="4245" y="1925"/>
                    <a:pt x="4245" y="1925"/>
                    <a:pt x="4245" y="1925"/>
                  </a:cubicBezTo>
                  <a:cubicBezTo>
                    <a:pt x="4254" y="1915"/>
                    <a:pt x="4279" y="1889"/>
                    <a:pt x="4327" y="1889"/>
                  </a:cubicBezTo>
                  <a:cubicBezTo>
                    <a:pt x="4383" y="1889"/>
                    <a:pt x="4392" y="1923"/>
                    <a:pt x="4394" y="1934"/>
                  </a:cubicBezTo>
                  <a:cubicBezTo>
                    <a:pt x="4423" y="1895"/>
                    <a:pt x="4456" y="1889"/>
                    <a:pt x="4481" y="1889"/>
                  </a:cubicBezTo>
                  <a:cubicBezTo>
                    <a:pt x="4530" y="1889"/>
                    <a:pt x="4544" y="1918"/>
                    <a:pt x="4547" y="1928"/>
                  </a:cubicBezTo>
                  <a:cubicBezTo>
                    <a:pt x="4555" y="1949"/>
                    <a:pt x="4548" y="1978"/>
                    <a:pt x="4544" y="1999"/>
                  </a:cubicBezTo>
                  <a:cubicBezTo>
                    <a:pt x="4515" y="2136"/>
                    <a:pt x="4515" y="2136"/>
                    <a:pt x="4515" y="2136"/>
                  </a:cubicBezTo>
                  <a:cubicBezTo>
                    <a:pt x="4443" y="2136"/>
                    <a:pt x="4443" y="2136"/>
                    <a:pt x="4443" y="2136"/>
                  </a:cubicBezTo>
                  <a:cubicBezTo>
                    <a:pt x="4473" y="1994"/>
                    <a:pt x="4473" y="1994"/>
                    <a:pt x="4473" y="1994"/>
                  </a:cubicBezTo>
                  <a:cubicBezTo>
                    <a:pt x="4479" y="1968"/>
                    <a:pt x="4481" y="1939"/>
                    <a:pt x="4444" y="1939"/>
                  </a:cubicBezTo>
                  <a:cubicBezTo>
                    <a:pt x="4401" y="1939"/>
                    <a:pt x="4392" y="1979"/>
                    <a:pt x="4385" y="2015"/>
                  </a:cubicBezTo>
                  <a:cubicBezTo>
                    <a:pt x="4358" y="2136"/>
                    <a:pt x="4358" y="2136"/>
                    <a:pt x="4358" y="2136"/>
                  </a:cubicBezTo>
                  <a:cubicBezTo>
                    <a:pt x="4286" y="2136"/>
                    <a:pt x="4286" y="2136"/>
                    <a:pt x="4286" y="2136"/>
                  </a:cubicBezTo>
                  <a:cubicBezTo>
                    <a:pt x="4318" y="1992"/>
                    <a:pt x="4318" y="1992"/>
                    <a:pt x="4318" y="1992"/>
                  </a:cubicBezTo>
                  <a:cubicBezTo>
                    <a:pt x="4321" y="1974"/>
                    <a:pt x="4328" y="1939"/>
                    <a:pt x="4289" y="1939"/>
                  </a:cubicBezTo>
                  <a:cubicBezTo>
                    <a:pt x="4244" y="1939"/>
                    <a:pt x="4236" y="1977"/>
                    <a:pt x="4232" y="1994"/>
                  </a:cubicBezTo>
                  <a:cubicBezTo>
                    <a:pt x="4202" y="2136"/>
                    <a:pt x="4202" y="2136"/>
                    <a:pt x="4202" y="2136"/>
                  </a:cubicBezTo>
                  <a:cubicBezTo>
                    <a:pt x="4131" y="2136"/>
                    <a:pt x="4131" y="2136"/>
                    <a:pt x="4131" y="2136"/>
                  </a:cubicBezTo>
                  <a:lnTo>
                    <a:pt x="4173" y="1939"/>
                  </a:lnTo>
                  <a:close/>
                  <a:moveTo>
                    <a:pt x="4694" y="1894"/>
                  </a:moveTo>
                  <a:cubicBezTo>
                    <a:pt x="4689" y="1928"/>
                    <a:pt x="4689" y="1928"/>
                    <a:pt x="4689" y="1928"/>
                  </a:cubicBezTo>
                  <a:cubicBezTo>
                    <a:pt x="4719" y="1889"/>
                    <a:pt x="4759" y="1889"/>
                    <a:pt x="4771" y="1889"/>
                  </a:cubicBezTo>
                  <a:cubicBezTo>
                    <a:pt x="4834" y="1889"/>
                    <a:pt x="4862" y="1936"/>
                    <a:pt x="4846" y="2010"/>
                  </a:cubicBezTo>
                  <a:cubicBezTo>
                    <a:pt x="4832" y="2079"/>
                    <a:pt x="4783" y="2140"/>
                    <a:pt x="4713" y="2140"/>
                  </a:cubicBezTo>
                  <a:cubicBezTo>
                    <a:pt x="4669" y="2140"/>
                    <a:pt x="4656" y="2117"/>
                    <a:pt x="4652" y="2109"/>
                  </a:cubicBezTo>
                  <a:cubicBezTo>
                    <a:pt x="4626" y="2229"/>
                    <a:pt x="4626" y="2229"/>
                    <a:pt x="4626" y="2229"/>
                  </a:cubicBezTo>
                  <a:cubicBezTo>
                    <a:pt x="4554" y="2229"/>
                    <a:pt x="4554" y="2229"/>
                    <a:pt x="4554" y="2229"/>
                  </a:cubicBezTo>
                  <a:cubicBezTo>
                    <a:pt x="4625" y="1894"/>
                    <a:pt x="4625" y="1894"/>
                    <a:pt x="4625" y="1894"/>
                  </a:cubicBezTo>
                  <a:lnTo>
                    <a:pt x="4694" y="1894"/>
                  </a:lnTo>
                  <a:close/>
                  <a:moveTo>
                    <a:pt x="4774" y="2013"/>
                  </a:moveTo>
                  <a:cubicBezTo>
                    <a:pt x="4780" y="1984"/>
                    <a:pt x="4783" y="1935"/>
                    <a:pt x="4741" y="1935"/>
                  </a:cubicBezTo>
                  <a:cubicBezTo>
                    <a:pt x="4718" y="1935"/>
                    <a:pt x="4682" y="1952"/>
                    <a:pt x="4668" y="2017"/>
                  </a:cubicBezTo>
                  <a:cubicBezTo>
                    <a:pt x="4665" y="2031"/>
                    <a:pt x="4652" y="2093"/>
                    <a:pt x="4705" y="2093"/>
                  </a:cubicBezTo>
                  <a:cubicBezTo>
                    <a:pt x="4738" y="2093"/>
                    <a:pt x="4763" y="2061"/>
                    <a:pt x="4774" y="2013"/>
                  </a:cubicBezTo>
                  <a:moveTo>
                    <a:pt x="4936" y="1789"/>
                  </a:moveTo>
                  <a:cubicBezTo>
                    <a:pt x="5007" y="1789"/>
                    <a:pt x="5007" y="1789"/>
                    <a:pt x="5007" y="1789"/>
                  </a:cubicBezTo>
                  <a:cubicBezTo>
                    <a:pt x="4933" y="2136"/>
                    <a:pt x="4933" y="2136"/>
                    <a:pt x="4933" y="2136"/>
                  </a:cubicBezTo>
                  <a:cubicBezTo>
                    <a:pt x="4862" y="2136"/>
                    <a:pt x="4862" y="2136"/>
                    <a:pt x="4862" y="2136"/>
                  </a:cubicBezTo>
                  <a:lnTo>
                    <a:pt x="4936" y="1789"/>
                  </a:lnTo>
                  <a:close/>
                  <a:moveTo>
                    <a:pt x="5068" y="2033"/>
                  </a:moveTo>
                  <a:cubicBezTo>
                    <a:pt x="5064" y="2049"/>
                    <a:pt x="5054" y="2098"/>
                    <a:pt x="5104" y="2098"/>
                  </a:cubicBezTo>
                  <a:cubicBezTo>
                    <a:pt x="5121" y="2098"/>
                    <a:pt x="5140" y="2091"/>
                    <a:pt x="5153" y="2064"/>
                  </a:cubicBezTo>
                  <a:cubicBezTo>
                    <a:pt x="5218" y="2064"/>
                    <a:pt x="5218" y="2064"/>
                    <a:pt x="5218" y="2064"/>
                  </a:cubicBezTo>
                  <a:cubicBezTo>
                    <a:pt x="5214" y="2076"/>
                    <a:pt x="5208" y="2097"/>
                    <a:pt x="5184" y="2117"/>
                  </a:cubicBezTo>
                  <a:cubicBezTo>
                    <a:pt x="5162" y="2136"/>
                    <a:pt x="5128" y="2145"/>
                    <a:pt x="5092" y="2145"/>
                  </a:cubicBezTo>
                  <a:cubicBezTo>
                    <a:pt x="5072" y="2145"/>
                    <a:pt x="5033" y="2142"/>
                    <a:pt x="5013" y="2115"/>
                  </a:cubicBezTo>
                  <a:cubicBezTo>
                    <a:pt x="4996" y="2092"/>
                    <a:pt x="4994" y="2060"/>
                    <a:pt x="5002" y="2021"/>
                  </a:cubicBezTo>
                  <a:cubicBezTo>
                    <a:pt x="5011" y="1981"/>
                    <a:pt x="5030" y="1934"/>
                    <a:pt x="5077" y="1906"/>
                  </a:cubicBezTo>
                  <a:cubicBezTo>
                    <a:pt x="5099" y="1893"/>
                    <a:pt x="5123" y="1886"/>
                    <a:pt x="5150" y="1886"/>
                  </a:cubicBezTo>
                  <a:cubicBezTo>
                    <a:pt x="5184" y="1886"/>
                    <a:pt x="5222" y="1899"/>
                    <a:pt x="5235" y="1944"/>
                  </a:cubicBezTo>
                  <a:cubicBezTo>
                    <a:pt x="5244" y="1977"/>
                    <a:pt x="5236" y="2013"/>
                    <a:pt x="5231" y="2033"/>
                  </a:cubicBezTo>
                  <a:lnTo>
                    <a:pt x="5068" y="2033"/>
                  </a:lnTo>
                  <a:close/>
                  <a:moveTo>
                    <a:pt x="5167" y="1988"/>
                  </a:moveTo>
                  <a:cubicBezTo>
                    <a:pt x="5170" y="1977"/>
                    <a:pt x="5178" y="1934"/>
                    <a:pt x="5137" y="1934"/>
                  </a:cubicBezTo>
                  <a:cubicBezTo>
                    <a:pt x="5105" y="1934"/>
                    <a:pt x="5087" y="1960"/>
                    <a:pt x="5080" y="1988"/>
                  </a:cubicBezTo>
                  <a:lnTo>
                    <a:pt x="5167" y="1988"/>
                  </a:lnTo>
                  <a:close/>
                  <a:moveTo>
                    <a:pt x="5353" y="1894"/>
                  </a:moveTo>
                  <a:cubicBezTo>
                    <a:pt x="5382" y="1973"/>
                    <a:pt x="5382" y="1973"/>
                    <a:pt x="5382" y="1973"/>
                  </a:cubicBezTo>
                  <a:cubicBezTo>
                    <a:pt x="5447" y="1894"/>
                    <a:pt x="5447" y="1894"/>
                    <a:pt x="5447" y="1894"/>
                  </a:cubicBezTo>
                  <a:cubicBezTo>
                    <a:pt x="5520" y="1894"/>
                    <a:pt x="5520" y="1894"/>
                    <a:pt x="5520" y="1894"/>
                  </a:cubicBezTo>
                  <a:cubicBezTo>
                    <a:pt x="5417" y="2012"/>
                    <a:pt x="5417" y="2012"/>
                    <a:pt x="5417" y="2012"/>
                  </a:cubicBezTo>
                  <a:cubicBezTo>
                    <a:pt x="5471" y="2136"/>
                    <a:pt x="5471" y="2136"/>
                    <a:pt x="5471" y="2136"/>
                  </a:cubicBezTo>
                  <a:cubicBezTo>
                    <a:pt x="5388" y="2136"/>
                    <a:pt x="5388" y="2136"/>
                    <a:pt x="5388" y="2136"/>
                  </a:cubicBezTo>
                  <a:cubicBezTo>
                    <a:pt x="5357" y="2047"/>
                    <a:pt x="5357" y="2047"/>
                    <a:pt x="5357" y="2047"/>
                  </a:cubicBezTo>
                  <a:cubicBezTo>
                    <a:pt x="5289" y="2136"/>
                    <a:pt x="5289" y="2136"/>
                    <a:pt x="5289" y="2136"/>
                  </a:cubicBezTo>
                  <a:cubicBezTo>
                    <a:pt x="5214" y="2136"/>
                    <a:pt x="5214" y="2136"/>
                    <a:pt x="5214" y="2136"/>
                  </a:cubicBezTo>
                  <a:cubicBezTo>
                    <a:pt x="5323" y="2006"/>
                    <a:pt x="5323" y="2006"/>
                    <a:pt x="5323" y="2006"/>
                  </a:cubicBezTo>
                  <a:cubicBezTo>
                    <a:pt x="5269" y="1894"/>
                    <a:pt x="5269" y="1894"/>
                    <a:pt x="5269" y="1894"/>
                  </a:cubicBezTo>
                  <a:lnTo>
                    <a:pt x="5353" y="1894"/>
                  </a:lnTo>
                  <a:close/>
                  <a:moveTo>
                    <a:pt x="5553" y="1893"/>
                  </a:moveTo>
                  <a:cubicBezTo>
                    <a:pt x="5625" y="1893"/>
                    <a:pt x="5625" y="1893"/>
                    <a:pt x="5625" y="1893"/>
                  </a:cubicBezTo>
                  <a:cubicBezTo>
                    <a:pt x="5573" y="2136"/>
                    <a:pt x="5573" y="2136"/>
                    <a:pt x="5573" y="2136"/>
                  </a:cubicBezTo>
                  <a:cubicBezTo>
                    <a:pt x="5501" y="2136"/>
                    <a:pt x="5501" y="2136"/>
                    <a:pt x="5501" y="2136"/>
                  </a:cubicBezTo>
                  <a:lnTo>
                    <a:pt x="5553" y="1893"/>
                  </a:lnTo>
                  <a:close/>
                  <a:moveTo>
                    <a:pt x="5573" y="1790"/>
                  </a:moveTo>
                  <a:cubicBezTo>
                    <a:pt x="5648" y="1790"/>
                    <a:pt x="5648" y="1790"/>
                    <a:pt x="5648" y="1790"/>
                  </a:cubicBezTo>
                  <a:cubicBezTo>
                    <a:pt x="5636" y="1851"/>
                    <a:pt x="5636" y="1851"/>
                    <a:pt x="5636" y="1851"/>
                  </a:cubicBezTo>
                  <a:cubicBezTo>
                    <a:pt x="5560" y="1851"/>
                    <a:pt x="5560" y="1851"/>
                    <a:pt x="5560" y="1851"/>
                  </a:cubicBezTo>
                  <a:lnTo>
                    <a:pt x="5573" y="1790"/>
                  </a:lnTo>
                  <a:close/>
                  <a:moveTo>
                    <a:pt x="5775" y="2133"/>
                  </a:moveTo>
                  <a:cubicBezTo>
                    <a:pt x="5752" y="2139"/>
                    <a:pt x="5730" y="2141"/>
                    <a:pt x="5719" y="2141"/>
                  </a:cubicBezTo>
                  <a:cubicBezTo>
                    <a:pt x="5647" y="2141"/>
                    <a:pt x="5657" y="2095"/>
                    <a:pt x="5662" y="2075"/>
                  </a:cubicBezTo>
                  <a:cubicBezTo>
                    <a:pt x="5689" y="1942"/>
                    <a:pt x="5689" y="1942"/>
                    <a:pt x="5689" y="1942"/>
                  </a:cubicBezTo>
                  <a:cubicBezTo>
                    <a:pt x="5643" y="1942"/>
                    <a:pt x="5643" y="1942"/>
                    <a:pt x="5643" y="1942"/>
                  </a:cubicBezTo>
                  <a:cubicBezTo>
                    <a:pt x="5653" y="1895"/>
                    <a:pt x="5653" y="1895"/>
                    <a:pt x="5653" y="1895"/>
                  </a:cubicBezTo>
                  <a:cubicBezTo>
                    <a:pt x="5700" y="1895"/>
                    <a:pt x="5700" y="1895"/>
                    <a:pt x="5700" y="1895"/>
                  </a:cubicBezTo>
                  <a:cubicBezTo>
                    <a:pt x="5710" y="1848"/>
                    <a:pt x="5710" y="1848"/>
                    <a:pt x="5710" y="1848"/>
                  </a:cubicBezTo>
                  <a:cubicBezTo>
                    <a:pt x="5786" y="1822"/>
                    <a:pt x="5786" y="1822"/>
                    <a:pt x="5786" y="1822"/>
                  </a:cubicBezTo>
                  <a:cubicBezTo>
                    <a:pt x="5770" y="1895"/>
                    <a:pt x="5770" y="1895"/>
                    <a:pt x="5770" y="1895"/>
                  </a:cubicBezTo>
                  <a:cubicBezTo>
                    <a:pt x="5828" y="1895"/>
                    <a:pt x="5828" y="1895"/>
                    <a:pt x="5828" y="1895"/>
                  </a:cubicBezTo>
                  <a:cubicBezTo>
                    <a:pt x="5818" y="1942"/>
                    <a:pt x="5818" y="1942"/>
                    <a:pt x="5818" y="1942"/>
                  </a:cubicBezTo>
                  <a:cubicBezTo>
                    <a:pt x="5760" y="1942"/>
                    <a:pt x="5760" y="1942"/>
                    <a:pt x="5760" y="1942"/>
                  </a:cubicBezTo>
                  <a:cubicBezTo>
                    <a:pt x="5736" y="2052"/>
                    <a:pt x="5736" y="2052"/>
                    <a:pt x="5736" y="2052"/>
                  </a:cubicBezTo>
                  <a:cubicBezTo>
                    <a:pt x="5733" y="2074"/>
                    <a:pt x="5729" y="2088"/>
                    <a:pt x="5761" y="2088"/>
                  </a:cubicBezTo>
                  <a:cubicBezTo>
                    <a:pt x="5772" y="2088"/>
                    <a:pt x="5777" y="2087"/>
                    <a:pt x="5786" y="2086"/>
                  </a:cubicBezTo>
                  <a:lnTo>
                    <a:pt x="5775" y="2133"/>
                  </a:lnTo>
                  <a:close/>
                  <a:moveTo>
                    <a:pt x="5921" y="1894"/>
                  </a:moveTo>
                  <a:cubicBezTo>
                    <a:pt x="5939" y="2062"/>
                    <a:pt x="5939" y="2062"/>
                    <a:pt x="5939" y="2062"/>
                  </a:cubicBezTo>
                  <a:cubicBezTo>
                    <a:pt x="6028" y="1894"/>
                    <a:pt x="6028" y="1894"/>
                    <a:pt x="6028" y="1894"/>
                  </a:cubicBezTo>
                  <a:cubicBezTo>
                    <a:pt x="6099" y="1894"/>
                    <a:pt x="6099" y="1894"/>
                    <a:pt x="6099" y="1894"/>
                  </a:cubicBezTo>
                  <a:cubicBezTo>
                    <a:pt x="5957" y="2132"/>
                    <a:pt x="5957" y="2132"/>
                    <a:pt x="5957" y="2132"/>
                  </a:cubicBezTo>
                  <a:cubicBezTo>
                    <a:pt x="5907" y="2229"/>
                    <a:pt x="5907" y="2229"/>
                    <a:pt x="5907" y="2229"/>
                  </a:cubicBezTo>
                  <a:cubicBezTo>
                    <a:pt x="5835" y="2229"/>
                    <a:pt x="5835" y="2229"/>
                    <a:pt x="5835" y="2229"/>
                  </a:cubicBezTo>
                  <a:cubicBezTo>
                    <a:pt x="5886" y="2137"/>
                    <a:pt x="5886" y="2137"/>
                    <a:pt x="5886" y="2137"/>
                  </a:cubicBezTo>
                  <a:cubicBezTo>
                    <a:pt x="5844" y="1894"/>
                    <a:pt x="5844" y="1894"/>
                    <a:pt x="5844" y="1894"/>
                  </a:cubicBezTo>
                  <a:lnTo>
                    <a:pt x="5921" y="1894"/>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noAutofit/>
            </a:bodyPr>
            <a:lstStyle/>
            <a:p>
              <a:pPr algn="ctr" defTabSz="685783"/>
              <a:endParaRPr lang="en-GB">
                <a:solidFill>
                  <a:srgbClr val="000000"/>
                </a:solidFill>
                <a:cs typeface="Arial" charset="0"/>
              </a:endParaRPr>
            </a:p>
          </p:txBody>
        </p:sp>
        <p:sp>
          <p:nvSpPr>
            <p:cNvPr id="12" name="Freeform 15"/>
            <p:cNvSpPr>
              <a:spLocks noChangeAspect="1" noEditPoints="1"/>
            </p:cNvSpPr>
            <p:nvPr userDrawn="1"/>
          </p:nvSpPr>
          <p:spPr bwMode="hidden">
            <a:xfrm>
              <a:off x="128464" y="1"/>
              <a:ext cx="2160000" cy="1275101"/>
            </a:xfrm>
            <a:custGeom>
              <a:avLst/>
              <a:gdLst/>
              <a:ahLst/>
              <a:cxnLst>
                <a:cxn ang="0">
                  <a:pos x="176" y="248"/>
                </a:cxn>
                <a:cxn ang="0">
                  <a:pos x="0" y="248"/>
                </a:cxn>
                <a:cxn ang="0">
                  <a:pos x="0" y="0"/>
                </a:cxn>
                <a:cxn ang="0">
                  <a:pos x="176" y="0"/>
                </a:cxn>
                <a:cxn ang="0">
                  <a:pos x="176" y="248"/>
                </a:cxn>
                <a:cxn ang="0">
                  <a:pos x="176" y="716"/>
                </a:cxn>
                <a:cxn ang="0">
                  <a:pos x="0" y="716"/>
                </a:cxn>
                <a:cxn ang="0">
                  <a:pos x="0" y="964"/>
                </a:cxn>
                <a:cxn ang="0">
                  <a:pos x="176" y="964"/>
                </a:cxn>
                <a:cxn ang="0">
                  <a:pos x="176" y="716"/>
                </a:cxn>
                <a:cxn ang="0">
                  <a:pos x="1633" y="0"/>
                </a:cxn>
                <a:cxn ang="0">
                  <a:pos x="1457" y="0"/>
                </a:cxn>
                <a:cxn ang="0">
                  <a:pos x="1457" y="248"/>
                </a:cxn>
                <a:cxn ang="0">
                  <a:pos x="1633" y="248"/>
                </a:cxn>
                <a:cxn ang="0">
                  <a:pos x="1633" y="0"/>
                </a:cxn>
                <a:cxn ang="0">
                  <a:pos x="1633" y="716"/>
                </a:cxn>
                <a:cxn ang="0">
                  <a:pos x="1457" y="716"/>
                </a:cxn>
                <a:cxn ang="0">
                  <a:pos x="1457" y="964"/>
                </a:cxn>
                <a:cxn ang="0">
                  <a:pos x="1633" y="964"/>
                </a:cxn>
                <a:cxn ang="0">
                  <a:pos x="1633" y="716"/>
                </a:cxn>
              </a:cxnLst>
              <a:rect l="0" t="0" r="r" b="b"/>
              <a:pathLst>
                <a:path w="1633" h="964">
                  <a:moveTo>
                    <a:pt x="176" y="248"/>
                  </a:moveTo>
                  <a:lnTo>
                    <a:pt x="0" y="248"/>
                  </a:lnTo>
                  <a:lnTo>
                    <a:pt x="0" y="0"/>
                  </a:lnTo>
                  <a:lnTo>
                    <a:pt x="176" y="0"/>
                  </a:lnTo>
                  <a:lnTo>
                    <a:pt x="176" y="248"/>
                  </a:lnTo>
                  <a:close/>
                  <a:moveTo>
                    <a:pt x="176" y="716"/>
                  </a:moveTo>
                  <a:lnTo>
                    <a:pt x="0" y="716"/>
                  </a:lnTo>
                  <a:lnTo>
                    <a:pt x="0" y="964"/>
                  </a:lnTo>
                  <a:lnTo>
                    <a:pt x="176" y="964"/>
                  </a:lnTo>
                  <a:lnTo>
                    <a:pt x="176" y="716"/>
                  </a:lnTo>
                  <a:close/>
                  <a:moveTo>
                    <a:pt x="1633" y="0"/>
                  </a:moveTo>
                  <a:lnTo>
                    <a:pt x="1457" y="0"/>
                  </a:lnTo>
                  <a:lnTo>
                    <a:pt x="1457" y="248"/>
                  </a:lnTo>
                  <a:lnTo>
                    <a:pt x="1633" y="248"/>
                  </a:lnTo>
                  <a:lnTo>
                    <a:pt x="1633" y="0"/>
                  </a:lnTo>
                  <a:close/>
                  <a:moveTo>
                    <a:pt x="1633" y="716"/>
                  </a:moveTo>
                  <a:lnTo>
                    <a:pt x="1457" y="716"/>
                  </a:lnTo>
                  <a:lnTo>
                    <a:pt x="1457" y="964"/>
                  </a:lnTo>
                  <a:lnTo>
                    <a:pt x="1633" y="964"/>
                  </a:lnTo>
                  <a:lnTo>
                    <a:pt x="1633" y="716"/>
                  </a:lnTo>
                  <a:close/>
                </a:path>
              </a:pathLst>
            </a:custGeom>
            <a:noFill/>
            <a:ln w="9525">
              <a:noFill/>
              <a:round/>
              <a:headEnd/>
              <a:tailEnd/>
            </a:ln>
          </p:spPr>
          <p:txBody>
            <a:bodyPr vert="horz" wrap="square" lIns="91440" tIns="45720" rIns="91440" bIns="45720" numCol="1" anchor="t" anchorCtr="0" compatLnSpc="1">
              <a:prstTxWarp prst="textNoShape">
                <a:avLst/>
              </a:prstTxWarp>
              <a:noAutofit/>
            </a:bodyPr>
            <a:lstStyle/>
            <a:p>
              <a:pPr algn="ctr" defTabSz="685783"/>
              <a:endParaRPr lang="en-GB" dirty="0">
                <a:solidFill>
                  <a:srgbClr val="000000"/>
                </a:solidFill>
                <a:cs typeface="Arial" charset="0"/>
              </a:endParaRPr>
            </a:p>
          </p:txBody>
        </p:sp>
      </p:grpSp>
    </p:spTree>
    <p:extLst>
      <p:ext uri="{BB962C8B-B14F-4D97-AF65-F5344CB8AC3E}">
        <p14:creationId xmlns:p14="http://schemas.microsoft.com/office/powerpoint/2010/main" val="398661056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1" y="1216"/>
          <a:ext cx="1619" cy="1214"/>
        </p:xfrm>
        <a:graphic>
          <a:graphicData uri="http://schemas.openxmlformats.org/presentationml/2006/ole">
            <mc:AlternateContent xmlns:mc="http://schemas.openxmlformats.org/markup-compatibility/2006">
              <mc:Choice xmlns:v="urn:schemas-microsoft-com:vml" Requires="v">
                <p:oleObj spid="_x0000_s207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621" y="1216"/>
                        <a:ext cx="1619" cy="1214"/>
                      </a:xfrm>
                      <a:prstGeom prst="rect">
                        <a:avLst/>
                      </a:prstGeom>
                    </p:spPr>
                  </p:pic>
                </p:oleObj>
              </mc:Fallback>
            </mc:AlternateContent>
          </a:graphicData>
        </a:graphic>
      </p:graphicFrame>
      <p:sp>
        <p:nvSpPr>
          <p:cNvPr id="4" name="Working Draft Text"/>
          <p:cNvSpPr txBox="1">
            <a:spLocks noChangeArrowheads="1"/>
          </p:cNvSpPr>
          <p:nvPr/>
        </p:nvSpPr>
        <p:spPr bwMode="auto">
          <a:xfrm>
            <a:off x="2693795" y="262399"/>
            <a:ext cx="993862"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1" dirty="0">
                <a:solidFill>
                  <a:srgbClr val="000000"/>
                </a:solidFill>
                <a:latin typeface="Arial"/>
              </a:rPr>
              <a:t>WORKING DRAFT</a:t>
            </a:r>
          </a:p>
        </p:txBody>
      </p:sp>
      <p:sp>
        <p:nvSpPr>
          <p:cNvPr id="5" name="doc id"/>
          <p:cNvSpPr txBox="1">
            <a:spLocks noChangeArrowheads="1"/>
          </p:cNvSpPr>
          <p:nvPr/>
        </p:nvSpPr>
        <p:spPr bwMode="auto">
          <a:xfrm>
            <a:off x="8614312" y="27941"/>
            <a:ext cx="301290" cy="93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a:solidFill>
                <a:srgbClr val="000000"/>
              </a:solidFill>
              <a:latin typeface="Arial"/>
            </a:endParaRPr>
          </a:p>
        </p:txBody>
      </p:sp>
      <p:sp>
        <p:nvSpPr>
          <p:cNvPr id="6" name="Working Draft"/>
          <p:cNvSpPr txBox="1">
            <a:spLocks noChangeArrowheads="1"/>
          </p:cNvSpPr>
          <p:nvPr/>
        </p:nvSpPr>
        <p:spPr bwMode="auto">
          <a:xfrm>
            <a:off x="2693796" y="381450"/>
            <a:ext cx="2846933"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a:solidFill>
                  <a:srgbClr val="000000"/>
                </a:solidFill>
                <a:latin typeface="Arial"/>
              </a:rPr>
              <a:t>Last Modified 5/2/2016 9:25 PM Eastern Standard Time</a:t>
            </a:r>
            <a:endParaRPr lang="en-US" sz="900" dirty="0">
              <a:solidFill>
                <a:srgbClr val="000000"/>
              </a:solidFill>
              <a:latin typeface="Arial"/>
            </a:endParaRPr>
          </a:p>
        </p:txBody>
      </p:sp>
      <p:sp>
        <p:nvSpPr>
          <p:cNvPr id="7" name="Printed"/>
          <p:cNvSpPr txBox="1">
            <a:spLocks noChangeArrowheads="1"/>
          </p:cNvSpPr>
          <p:nvPr/>
        </p:nvSpPr>
        <p:spPr bwMode="auto">
          <a:xfrm>
            <a:off x="2693796" y="501717"/>
            <a:ext cx="36548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dirty="0">
                <a:solidFill>
                  <a:srgbClr val="000000"/>
                </a:solidFill>
                <a:latin typeface="Arial"/>
              </a:rPr>
              <a:t>Printed</a:t>
            </a:r>
          </a:p>
        </p:txBody>
      </p:sp>
      <p:grpSp>
        <p:nvGrpSpPr>
          <p:cNvPr id="2" name="Title Elements"/>
          <p:cNvGrpSpPr/>
          <p:nvPr userDrawn="1"/>
        </p:nvGrpSpPr>
        <p:grpSpPr>
          <a:xfrm>
            <a:off x="0" y="0"/>
            <a:ext cx="9140761" cy="5144715"/>
            <a:chOff x="0" y="0"/>
            <a:chExt cx="8958264" cy="6723063"/>
          </a:xfrm>
        </p:grpSpPr>
        <p:sp>
          <p:nvSpPr>
            <p:cNvPr id="9" name="Document type" hidden="1"/>
            <p:cNvSpPr txBox="1">
              <a:spLocks noChangeArrowheads="1"/>
            </p:cNvSpPr>
            <p:nvPr/>
          </p:nvSpPr>
          <p:spPr bwMode="auto">
            <a:xfrm>
              <a:off x="2640013" y="4865135"/>
              <a:ext cx="4935538" cy="281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srgbClr val="000000"/>
                  </a:solidFill>
                  <a:latin typeface="Arial"/>
                </a:rPr>
                <a:t>Document type</a:t>
              </a:r>
            </a:p>
          </p:txBody>
        </p:sp>
        <p:sp>
          <p:nvSpPr>
            <p:cNvPr id="10" name="Date" hidden="1"/>
            <p:cNvSpPr txBox="1">
              <a:spLocks noChangeArrowheads="1"/>
            </p:cNvSpPr>
            <p:nvPr/>
          </p:nvSpPr>
          <p:spPr bwMode="auto">
            <a:xfrm>
              <a:off x="2640013" y="5199063"/>
              <a:ext cx="4935538" cy="281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srgbClr val="000000"/>
                  </a:solidFill>
                  <a:latin typeface="Arial"/>
                </a:rPr>
                <a:t>Date</a:t>
              </a:r>
            </a:p>
          </p:txBody>
        </p:sp>
        <p:sp>
          <p:nvSpPr>
            <p:cNvPr id="11" name="Disclaimer" hidden="1"/>
            <p:cNvSpPr>
              <a:spLocks noChangeArrowheads="1"/>
            </p:cNvSpPr>
            <p:nvPr/>
          </p:nvSpPr>
          <p:spPr bwMode="auto">
            <a:xfrm>
              <a:off x="2640013" y="5818691"/>
              <a:ext cx="5121275" cy="3217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4863" eaLnBrk="0" hangingPunct="0"/>
              <a:r>
                <a:rPr lang="en-US" sz="800" dirty="0">
                  <a:solidFill>
                    <a:srgbClr val="000000"/>
                  </a:solidFill>
                </a:rPr>
                <a:t>CONFIDENTIAL AND PROPRIETARY</a:t>
              </a:r>
            </a:p>
            <a:p>
              <a:pPr defTabSz="804863" eaLnBrk="0" hangingPunct="0"/>
              <a:r>
                <a:rPr lang="en-US" sz="800" dirty="0">
                  <a:solidFill>
                    <a:srgbClr val="000000"/>
                  </a:solidFill>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2238375"/>
              <a:ext cx="2193925" cy="4484688"/>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endParaRPr>
            </a:p>
          </p:txBody>
        </p:sp>
        <p:sp>
          <p:nvSpPr>
            <p:cNvPr id="13" name="TitleTopPlaceholder" hidden="1"/>
            <p:cNvSpPr>
              <a:spLocks noChangeArrowheads="1"/>
            </p:cNvSpPr>
            <p:nvPr/>
          </p:nvSpPr>
          <p:spPr bwMode="auto">
            <a:xfrm>
              <a:off x="0" y="0"/>
              <a:ext cx="2193925" cy="2238375"/>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endParaRPr>
            </a:p>
          </p:txBody>
        </p:sp>
        <p:sp>
          <p:nvSpPr>
            <p:cNvPr id="19" name="Rectangle 18" hidden="1"/>
            <p:cNvSpPr/>
            <p:nvPr/>
          </p:nvSpPr>
          <p:spPr>
            <a:xfrm>
              <a:off x="0" y="0"/>
              <a:ext cx="8958264" cy="6721475"/>
            </a:xfrm>
            <a:prstGeom prst="rect">
              <a:avLst/>
            </a:prstGeom>
            <a:noFill/>
            <a:ln w="3175">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rgbClr val="000000"/>
                </a:solidFill>
              </a:endParaRPr>
            </a:p>
          </p:txBody>
        </p:sp>
      </p:grpSp>
      <p:grpSp>
        <p:nvGrpSpPr>
          <p:cNvPr id="15" name="TitleBottomBar"/>
          <p:cNvGrpSpPr>
            <a:grpSpLocks/>
          </p:cNvGrpSpPr>
          <p:nvPr/>
        </p:nvGrpSpPr>
        <p:grpSpPr bwMode="auto">
          <a:xfrm>
            <a:off x="2237000" y="4825220"/>
            <a:ext cx="6905379" cy="321925"/>
            <a:chOff x="1382" y="3969"/>
            <a:chExt cx="4263" cy="265"/>
          </a:xfrm>
        </p:grpSpPr>
        <p:sp>
          <p:nvSpPr>
            <p:cNvPr id="16" name="Rectangle 1134"/>
            <p:cNvSpPr>
              <a:spLocks noChangeArrowheads="1"/>
            </p:cNvSpPr>
            <p:nvPr>
              <p:custDataLst>
                <p:tags r:id="rId3"/>
              </p:custDataLst>
            </p:nvPr>
          </p:nvSpPr>
          <p:spPr bwMode="gray">
            <a:xfrm>
              <a:off x="1382" y="3969"/>
              <a:ext cx="4263" cy="265"/>
            </a:xfrm>
            <a:prstGeom prst="rect">
              <a:avLst/>
            </a:prstGeom>
            <a:solidFill>
              <a:srgbClr val="00296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endParaRPr>
            </a:p>
          </p:txBody>
        </p:sp>
        <p:pic>
          <p:nvPicPr>
            <p:cNvPr id="17" name="Picture 119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519" y="4059"/>
              <a:ext cx="1023" cy="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18" name="TitleBottomBarBW" hidden="1"/>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320060" y="4930909"/>
            <a:ext cx="1670055" cy="1469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a:xfrm>
            <a:off x="2693795" y="1632703"/>
            <a:ext cx="5036084" cy="984885"/>
          </a:xfrm>
          <a:prstGeom prst="rect">
            <a:avLst/>
          </a:prstGeom>
        </p:spPr>
        <p:txBody>
          <a:bodyPr/>
          <a:lstStyle>
            <a:lvl1pPr>
              <a:defRPr sz="32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a:xfrm>
            <a:off x="2693795" y="2959274"/>
            <a:ext cx="5036084" cy="215444"/>
          </a:xfrm>
          <a:prstGeom prst="rect">
            <a:avLst/>
          </a:prstGeom>
        </p:spPr>
        <p:txBody>
          <a:bodyPr>
            <a:spAutoFit/>
          </a:bodyPr>
          <a:lstStyle>
            <a:lvl1pPr>
              <a:defRPr sz="1400" baseline="0">
                <a:latin typeface="+mn-lt"/>
                <a:ea typeface="+mn-ea"/>
              </a:defRPr>
            </a:lvl1pPr>
          </a:lstStyle>
          <a:p>
            <a:pPr lvl="0"/>
            <a:r>
              <a:rPr lang="en-US" noProof="0"/>
              <a:t>Click to edit Master subtitle style</a:t>
            </a:r>
            <a:endParaRPr lang="en-US" noProof="0" dirty="0"/>
          </a:p>
        </p:txBody>
      </p:sp>
    </p:spTree>
    <p:extLst>
      <p:ext uri="{BB962C8B-B14F-4D97-AF65-F5344CB8AC3E}">
        <p14:creationId xmlns:p14="http://schemas.microsoft.com/office/powerpoint/2010/main" val="280148999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cNvSpPr txBox="1">
            <a:spLocks/>
          </p:cNvSpPr>
          <p:nvPr userDrawn="1"/>
        </p:nvSpPr>
        <p:spPr>
          <a:xfrm>
            <a:off x="8719602" y="4906201"/>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mtClean="0">
                <a:solidFill>
                  <a:srgbClr val="000000"/>
                </a:solidFill>
              </a:rPr>
              <a:pPr/>
              <a:t>‹#›</a:t>
            </a:fld>
            <a:endParaRPr lang="en-US" dirty="0">
              <a:solidFill>
                <a:srgbClr val="000000"/>
              </a:solidFill>
            </a:endParaRPr>
          </a:p>
        </p:txBody>
      </p:sp>
      <p:sp>
        <p:nvSpPr>
          <p:cNvPr id="4" name="SlideLogoSeparator"/>
          <p:cNvSpPr>
            <a:spLocks noChangeArrowheads="1"/>
          </p:cNvSpPr>
          <p:nvPr userDrawn="1">
            <p:custDataLst>
              <p:tags r:id="rId1"/>
            </p:custDataLst>
          </p:nvPr>
        </p:nvSpPr>
        <p:spPr bwMode="auto">
          <a:xfrm>
            <a:off x="8590626" y="4900539"/>
            <a:ext cx="40892" cy="1397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895350"/>
            <a:r>
              <a:rPr lang="en-US" sz="1200" dirty="0">
                <a:solidFill>
                  <a:srgbClr val="000000"/>
                </a:solidFill>
              </a:rPr>
              <a:t>|</a:t>
            </a:r>
          </a:p>
        </p:txBody>
      </p:sp>
      <p:sp>
        <p:nvSpPr>
          <p:cNvPr id="2" name="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40378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8"/>
          <p:cNvSpPr>
            <a:spLocks noGrp="1"/>
          </p:cNvSpPr>
          <p:nvPr>
            <p:ph sz="quarter" idx="14"/>
          </p:nvPr>
        </p:nvSpPr>
        <p:spPr>
          <a:xfrm>
            <a:off x="457319" y="923925"/>
            <a:ext cx="4005116" cy="3702844"/>
          </a:xfrm>
          <a:prstGeom prst="rect">
            <a:avLst/>
          </a:prstGeom>
        </p:spPr>
        <p:txBody>
          <a:bodyPr vert="horz" lIns="0" tIns="0" rIns="0" bIns="0" rtlCol="0">
            <a:norm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11"/>
          <p:cNvSpPr>
            <a:spLocks noGrp="1"/>
          </p:cNvSpPr>
          <p:nvPr>
            <p:ph sz="quarter" idx="15"/>
          </p:nvPr>
        </p:nvSpPr>
        <p:spPr>
          <a:xfrm>
            <a:off x="4681566" y="923925"/>
            <a:ext cx="4005115" cy="3702844"/>
          </a:xfrm>
          <a:prstGeom prst="rect">
            <a:avLst/>
          </a:prstGeom>
        </p:spPr>
        <p:txBody>
          <a:bodyPr vert="horz" lIns="0" tIns="0" rIns="0" bIns="0" rtlCol="0">
            <a:norm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17563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16"/>
          </p:nvPr>
        </p:nvSpPr>
        <p:spPr>
          <a:xfrm>
            <a:off x="457319" y="1232298"/>
            <a:ext cx="4005116" cy="3396853"/>
          </a:xfrm>
          <a:prstGeom prst="rect">
            <a:avLst/>
          </a:prstGeom>
        </p:spPr>
        <p:txBody>
          <a:bodyPr vert="horz" lIns="0" tIns="0" rIns="0" bIns="0" rtlCol="0">
            <a:norm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7"/>
          </p:nvPr>
        </p:nvSpPr>
        <p:spPr>
          <a:xfrm>
            <a:off x="4681566" y="1232298"/>
            <a:ext cx="4005115" cy="3396853"/>
          </a:xfrm>
          <a:prstGeom prst="rect">
            <a:avLst/>
          </a:prstGeom>
        </p:spPr>
        <p:txBody>
          <a:bodyPr vert="horz" lIns="0" tIns="0" rIns="0" bIns="0" rtlCol="0">
            <a:norm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lvl1pPr>
              <a:defRPr/>
            </a:lvl1pPr>
          </a:lstStyle>
          <a:p>
            <a:r>
              <a:rPr lang="en-US"/>
              <a:t>Click to edit Master title style</a:t>
            </a:r>
          </a:p>
        </p:txBody>
      </p:sp>
      <p:sp>
        <p:nvSpPr>
          <p:cNvPr id="8" name="Text Placeholder 7"/>
          <p:cNvSpPr>
            <a:spLocks noGrp="1"/>
          </p:cNvSpPr>
          <p:nvPr>
            <p:ph type="body" sz="quarter" idx="10"/>
          </p:nvPr>
        </p:nvSpPr>
        <p:spPr>
          <a:xfrm>
            <a:off x="457199" y="819150"/>
            <a:ext cx="4005072" cy="307777"/>
          </a:xfrm>
          <a:prstGeom prst="rect">
            <a:avLst/>
          </a:prstGeom>
        </p:spPr>
        <p:txBody>
          <a:bodyPr>
            <a:noAutofit/>
          </a:bodyPr>
          <a:lstStyle>
            <a:lvl1pPr marL="0" indent="0">
              <a:buNone/>
              <a:defRPr sz="2400">
                <a:solidFill>
                  <a:schemeClr val="accent1"/>
                </a:solidFill>
              </a:defRPr>
            </a:lvl1pPr>
          </a:lstStyle>
          <a:p>
            <a:pPr lvl="0"/>
            <a:r>
              <a:rPr lang="en-US"/>
              <a:t>Click to edit Master text styles</a:t>
            </a:r>
          </a:p>
        </p:txBody>
      </p:sp>
      <p:sp>
        <p:nvSpPr>
          <p:cNvPr id="12" name="Text Placeholder 7"/>
          <p:cNvSpPr>
            <a:spLocks noGrp="1"/>
          </p:cNvSpPr>
          <p:nvPr>
            <p:ph type="body" sz="quarter" idx="11"/>
          </p:nvPr>
        </p:nvSpPr>
        <p:spPr>
          <a:xfrm>
            <a:off x="4681730" y="819150"/>
            <a:ext cx="4005072" cy="307777"/>
          </a:xfrm>
          <a:prstGeom prst="rect">
            <a:avLst/>
          </a:prstGeom>
        </p:spPr>
        <p:txBody>
          <a:bodyPr>
            <a:noAutofit/>
          </a:bodyPr>
          <a:lstStyle>
            <a:lvl1pPr marL="0" indent="0">
              <a:buNone/>
              <a:defRPr sz="2400">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3640001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icture with Content">
    <p:spTree>
      <p:nvGrpSpPr>
        <p:cNvPr id="1" name=""/>
        <p:cNvGrpSpPr/>
        <p:nvPr/>
      </p:nvGrpSpPr>
      <p:grpSpPr>
        <a:xfrm>
          <a:off x="0" y="0"/>
          <a:ext cx="0" cy="0"/>
          <a:chOff x="0" y="0"/>
          <a:chExt cx="0" cy="0"/>
        </a:xfrm>
      </p:grpSpPr>
      <p:sp>
        <p:nvSpPr>
          <p:cNvPr id="7" name="Content Placeholder 6"/>
          <p:cNvSpPr>
            <a:spLocks noGrp="1"/>
          </p:cNvSpPr>
          <p:nvPr>
            <p:ph sz="quarter" idx="14"/>
          </p:nvPr>
        </p:nvSpPr>
        <p:spPr>
          <a:xfrm>
            <a:off x="4681566" y="923925"/>
            <a:ext cx="4005115" cy="3705225"/>
          </a:xfrm>
          <a:prstGeom prst="rect">
            <a:avLst/>
          </a:prstGeom>
        </p:spPr>
        <p:txBody>
          <a:bodyPr vert="horz" lIns="0" tIns="0" rIns="0" bIns="0" rtlCol="0">
            <a:norm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p:cNvSpPr>
            <a:spLocks noGrp="1"/>
          </p:cNvSpPr>
          <p:nvPr>
            <p:ph type="body" idx="1"/>
          </p:nvPr>
        </p:nvSpPr>
        <p:spPr>
          <a:xfrm>
            <a:off x="457199" y="819150"/>
            <a:ext cx="4005072" cy="365760"/>
          </a:xfrm>
          <a:prstGeom prst="rect">
            <a:avLst/>
          </a:prstGeom>
        </p:spPr>
        <p:txBody>
          <a:bodyPr anchor="t" anchorCtr="0">
            <a:noAutofit/>
          </a:bodyPr>
          <a:lstStyle>
            <a:lvl1pPr marL="0" indent="0">
              <a:buNone/>
              <a:defRPr sz="2400" b="0">
                <a:solidFill>
                  <a:schemeClr val="accent1"/>
                </a:solidFill>
              </a:defRPr>
            </a:lvl1pPr>
            <a:lvl2pPr marL="456854" indent="0">
              <a:buNone/>
              <a:defRPr sz="2025" b="1"/>
            </a:lvl2pPr>
            <a:lvl3pPr marL="913708" indent="0">
              <a:buNone/>
              <a:defRPr sz="1800" b="1"/>
            </a:lvl3pPr>
            <a:lvl4pPr marL="1370562" indent="0">
              <a:buNone/>
              <a:defRPr sz="1575" b="1"/>
            </a:lvl4pPr>
            <a:lvl5pPr marL="1827413" indent="0">
              <a:buNone/>
              <a:defRPr sz="1575" b="1"/>
            </a:lvl5pPr>
            <a:lvl6pPr marL="2284262" indent="0">
              <a:buNone/>
              <a:defRPr sz="1575" b="1"/>
            </a:lvl6pPr>
            <a:lvl7pPr marL="2741123" indent="0">
              <a:buNone/>
              <a:defRPr sz="1575" b="1"/>
            </a:lvl7pPr>
            <a:lvl8pPr marL="3197972" indent="0">
              <a:buNone/>
              <a:defRPr sz="1575" b="1"/>
            </a:lvl8pPr>
            <a:lvl9pPr marL="3654822" indent="0">
              <a:buNone/>
              <a:defRPr sz="1575" b="1"/>
            </a:lvl9pPr>
          </a:lstStyle>
          <a:p>
            <a:pPr lvl="0"/>
            <a:r>
              <a:rPr lang="en-US"/>
              <a:t>Click to edit Master text styles</a:t>
            </a:r>
          </a:p>
        </p:txBody>
      </p:sp>
      <p:sp>
        <p:nvSpPr>
          <p:cNvPr id="14" name="Picture Placeholder 13"/>
          <p:cNvSpPr>
            <a:spLocks noGrp="1"/>
          </p:cNvSpPr>
          <p:nvPr>
            <p:ph type="pic" sz="quarter" idx="11"/>
          </p:nvPr>
        </p:nvSpPr>
        <p:spPr>
          <a:xfrm>
            <a:off x="457199" y="1292241"/>
            <a:ext cx="4005072" cy="3336925"/>
          </a:xfrm>
          <a:prstGeom prst="rect">
            <a:avLst/>
          </a:prstGeom>
        </p:spPr>
        <p:txBody>
          <a:bodyPr vert="horz" lIns="0" tIns="0" rIns="0" bIns="0" rtlCol="0">
            <a:normAutofit/>
          </a:bodyPr>
          <a:lstStyle>
            <a:lvl1pPr>
              <a:defRPr lang="en-US" dirty="0"/>
            </a:lvl1pPr>
          </a:lstStyle>
          <a:p>
            <a:pPr lvl="0"/>
            <a:r>
              <a:rPr lang="en-US"/>
              <a:t>Click icon to add picture</a:t>
            </a:r>
            <a:endParaRPr lang="en-US" dirty="0"/>
          </a:p>
        </p:txBody>
      </p:sp>
      <p:sp>
        <p:nvSpPr>
          <p:cNvPr id="5" name="Title 4"/>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67032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rt with Content">
    <p:spTree>
      <p:nvGrpSpPr>
        <p:cNvPr id="1" name=""/>
        <p:cNvGrpSpPr/>
        <p:nvPr/>
      </p:nvGrpSpPr>
      <p:grpSpPr>
        <a:xfrm>
          <a:off x="0" y="0"/>
          <a:ext cx="0" cy="0"/>
          <a:chOff x="0" y="0"/>
          <a:chExt cx="0" cy="0"/>
        </a:xfrm>
      </p:grpSpPr>
      <p:sp>
        <p:nvSpPr>
          <p:cNvPr id="7" name="Content Placeholder 6"/>
          <p:cNvSpPr>
            <a:spLocks noGrp="1"/>
          </p:cNvSpPr>
          <p:nvPr>
            <p:ph sz="quarter" idx="14"/>
          </p:nvPr>
        </p:nvSpPr>
        <p:spPr>
          <a:xfrm>
            <a:off x="4681566" y="923925"/>
            <a:ext cx="4005115" cy="3705225"/>
          </a:xfrm>
          <a:prstGeom prst="rect">
            <a:avLst/>
          </a:prstGeom>
        </p:spPr>
        <p:txBody>
          <a:bodyPr vert="horz" lIns="0" tIns="0" rIns="0" bIns="0" rtlCol="0">
            <a:norm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199" y="819150"/>
            <a:ext cx="4005072" cy="365760"/>
          </a:xfrm>
          <a:prstGeom prst="rect">
            <a:avLst/>
          </a:prstGeom>
        </p:spPr>
        <p:txBody>
          <a:bodyPr anchor="t" anchorCtr="0">
            <a:noAutofit/>
          </a:bodyPr>
          <a:lstStyle>
            <a:lvl1pPr marL="0" indent="0">
              <a:buNone/>
              <a:defRPr sz="2400" b="0">
                <a:solidFill>
                  <a:schemeClr val="accent1"/>
                </a:solidFill>
              </a:defRPr>
            </a:lvl1pPr>
            <a:lvl2pPr marL="456854" indent="0">
              <a:buNone/>
              <a:defRPr sz="2025" b="1"/>
            </a:lvl2pPr>
            <a:lvl3pPr marL="913708" indent="0">
              <a:buNone/>
              <a:defRPr sz="1800" b="1"/>
            </a:lvl3pPr>
            <a:lvl4pPr marL="1370562" indent="0">
              <a:buNone/>
              <a:defRPr sz="1575" b="1"/>
            </a:lvl4pPr>
            <a:lvl5pPr marL="1827413" indent="0">
              <a:buNone/>
              <a:defRPr sz="1575" b="1"/>
            </a:lvl5pPr>
            <a:lvl6pPr marL="2284262" indent="0">
              <a:buNone/>
              <a:defRPr sz="1575" b="1"/>
            </a:lvl6pPr>
            <a:lvl7pPr marL="2741123" indent="0">
              <a:buNone/>
              <a:defRPr sz="1575" b="1"/>
            </a:lvl7pPr>
            <a:lvl8pPr marL="3197972" indent="0">
              <a:buNone/>
              <a:defRPr sz="1575" b="1"/>
            </a:lvl8pPr>
            <a:lvl9pPr marL="3654822" indent="0">
              <a:buNone/>
              <a:defRPr sz="1575" b="1"/>
            </a:lvl9pPr>
          </a:lstStyle>
          <a:p>
            <a:pPr lvl="0"/>
            <a:r>
              <a:rPr lang="en-US"/>
              <a:t>Click to edit Master text styles</a:t>
            </a:r>
          </a:p>
        </p:txBody>
      </p:sp>
      <p:sp>
        <p:nvSpPr>
          <p:cNvPr id="12" name="Chart Placeholder 11"/>
          <p:cNvSpPr>
            <a:spLocks noGrp="1"/>
          </p:cNvSpPr>
          <p:nvPr>
            <p:ph type="chart" sz="quarter" idx="11"/>
          </p:nvPr>
        </p:nvSpPr>
        <p:spPr>
          <a:xfrm>
            <a:off x="457199" y="1292241"/>
            <a:ext cx="4005072" cy="3336925"/>
          </a:xfrm>
          <a:prstGeom prst="rect">
            <a:avLst/>
          </a:prstGeom>
        </p:spPr>
        <p:txBody>
          <a:bodyPr vert="horz" lIns="0" tIns="0" rIns="0" bIns="0" rtlCol="0">
            <a:normAutofit/>
          </a:bodyPr>
          <a:lstStyle>
            <a:lvl1pPr>
              <a:defRPr lang="en-US" dirty="0"/>
            </a:lvl1pPr>
          </a:lstStyle>
          <a:p>
            <a:pPr lvl="0"/>
            <a:r>
              <a:rPr lang="en-US"/>
              <a:t>Click icon to add chart</a:t>
            </a:r>
            <a:endParaRPr lang="en-US" dirty="0"/>
          </a:p>
        </p:txBody>
      </p:sp>
    </p:spTree>
    <p:extLst>
      <p:ext uri="{BB962C8B-B14F-4D97-AF65-F5344CB8AC3E}">
        <p14:creationId xmlns:p14="http://schemas.microsoft.com/office/powerpoint/2010/main" val="3293300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Media">
    <p:spTree>
      <p:nvGrpSpPr>
        <p:cNvPr id="1" name=""/>
        <p:cNvGrpSpPr/>
        <p:nvPr/>
      </p:nvGrpSpPr>
      <p:grpSpPr>
        <a:xfrm>
          <a:off x="0" y="0"/>
          <a:ext cx="0" cy="0"/>
          <a:chOff x="0" y="0"/>
          <a:chExt cx="0" cy="0"/>
        </a:xfrm>
      </p:grpSpPr>
      <p:sp>
        <p:nvSpPr>
          <p:cNvPr id="10" name="Content Placeholder 9"/>
          <p:cNvSpPr>
            <a:spLocks noGrp="1"/>
          </p:cNvSpPr>
          <p:nvPr>
            <p:ph sz="quarter" idx="14"/>
          </p:nvPr>
        </p:nvSpPr>
        <p:spPr>
          <a:xfrm>
            <a:off x="4681566" y="914400"/>
            <a:ext cx="4005115" cy="3714750"/>
          </a:xfrm>
          <a:prstGeom prst="rect">
            <a:avLst/>
          </a:prstGeom>
        </p:spPr>
        <p:txBody>
          <a:bodyPr vert="horz" lIns="0" tIns="0" rIns="0" bIns="0" rtlCol="0">
            <a:norm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199" y="4263390"/>
            <a:ext cx="4005072" cy="365760"/>
          </a:xfrm>
          <a:prstGeom prst="rect">
            <a:avLst/>
          </a:prstGeom>
        </p:spPr>
        <p:txBody>
          <a:bodyPr anchor="t" anchorCtr="0">
            <a:noAutofit/>
          </a:bodyPr>
          <a:lstStyle>
            <a:lvl1pPr marL="0" indent="0">
              <a:buNone/>
              <a:defRPr sz="2025" b="0">
                <a:solidFill>
                  <a:schemeClr val="accent1"/>
                </a:solidFill>
              </a:defRPr>
            </a:lvl1pPr>
            <a:lvl2pPr marL="456854" indent="0">
              <a:buNone/>
              <a:defRPr sz="2025" b="1"/>
            </a:lvl2pPr>
            <a:lvl3pPr marL="913708" indent="0">
              <a:buNone/>
              <a:defRPr sz="1800" b="1"/>
            </a:lvl3pPr>
            <a:lvl4pPr marL="1370562" indent="0">
              <a:buNone/>
              <a:defRPr sz="1575" b="1"/>
            </a:lvl4pPr>
            <a:lvl5pPr marL="1827413" indent="0">
              <a:buNone/>
              <a:defRPr sz="1575" b="1"/>
            </a:lvl5pPr>
            <a:lvl6pPr marL="2284262" indent="0">
              <a:buNone/>
              <a:defRPr sz="1575" b="1"/>
            </a:lvl6pPr>
            <a:lvl7pPr marL="2741123" indent="0">
              <a:buNone/>
              <a:defRPr sz="1575" b="1"/>
            </a:lvl7pPr>
            <a:lvl8pPr marL="3197972" indent="0">
              <a:buNone/>
              <a:defRPr sz="1575" b="1"/>
            </a:lvl8pPr>
            <a:lvl9pPr marL="3654822" indent="0">
              <a:buNone/>
              <a:defRPr sz="1575" b="1"/>
            </a:lvl9pPr>
          </a:lstStyle>
          <a:p>
            <a:pPr lvl="0"/>
            <a:r>
              <a:rPr lang="en-US"/>
              <a:t>Click to edit Master text styles</a:t>
            </a:r>
          </a:p>
        </p:txBody>
      </p:sp>
      <p:sp>
        <p:nvSpPr>
          <p:cNvPr id="4" name="Rounded Rectangle 3"/>
          <p:cNvSpPr/>
          <p:nvPr userDrawn="1"/>
        </p:nvSpPr>
        <p:spPr>
          <a:xfrm>
            <a:off x="457200" y="923927"/>
            <a:ext cx="4005072" cy="3242439"/>
          </a:xfrm>
          <a:prstGeom prst="roundRect">
            <a:avLst>
              <a:gd name="adj" fmla="val 3521"/>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368" tIns="45684" rIns="91368" bIns="45684" rtlCol="0" anchor="ctr"/>
          <a:lstStyle/>
          <a:p>
            <a:pPr algn="ctr" defTabSz="913708" fontAlgn="auto">
              <a:spcBef>
                <a:spcPts val="0"/>
              </a:spcBef>
              <a:spcAft>
                <a:spcPts val="0"/>
              </a:spcAft>
            </a:pPr>
            <a:endParaRPr lang="en-US" sz="1800">
              <a:solidFill>
                <a:prstClr val="white"/>
              </a:solidFill>
            </a:endParaRPr>
          </a:p>
        </p:txBody>
      </p:sp>
      <p:sp>
        <p:nvSpPr>
          <p:cNvPr id="6" name="Media Placeholder 5"/>
          <p:cNvSpPr>
            <a:spLocks noGrp="1"/>
          </p:cNvSpPr>
          <p:nvPr>
            <p:ph type="media" sz="quarter" idx="11"/>
          </p:nvPr>
        </p:nvSpPr>
        <p:spPr>
          <a:xfrm>
            <a:off x="609605" y="1106492"/>
            <a:ext cx="3700463" cy="2853620"/>
          </a:xfrm>
          <a:prstGeom prst="rect">
            <a:avLst/>
          </a:prstGeom>
        </p:spPr>
        <p:txBody>
          <a:bodyPr/>
          <a:lstStyle>
            <a:lvl1pPr>
              <a:defRPr>
                <a:solidFill>
                  <a:srgbClr val="FFFFFF"/>
                </a:solidFill>
              </a:defRPr>
            </a:lvl1pPr>
          </a:lstStyle>
          <a:p>
            <a:r>
              <a:rPr lang="en-US"/>
              <a:t>Click icon to add media</a:t>
            </a:r>
          </a:p>
        </p:txBody>
      </p:sp>
    </p:spTree>
    <p:extLst>
      <p:ext uri="{BB962C8B-B14F-4D97-AF65-F5344CB8AC3E}">
        <p14:creationId xmlns:p14="http://schemas.microsoft.com/office/powerpoint/2010/main" val="2171073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theme" Target="../theme/theme2.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heme" Target="../theme/theme3.xml"/><Relationship Id="rId7" Type="http://schemas.openxmlformats.org/officeDocument/2006/relationships/oleObject" Target="../embeddings/oleObject1.bin"/><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1" y="10170"/>
            <a:ext cx="8229601" cy="904230"/>
          </a:xfrm>
          <a:prstGeom prst="rect">
            <a:avLst/>
          </a:prstGeom>
        </p:spPr>
        <p:txBody>
          <a:bodyPr vert="horz" lIns="0" tIns="60912" rIns="0" bIns="60912" rtlCol="0" anchor="ctr">
            <a:normAutofit/>
          </a:bodyPr>
          <a:lstStyle/>
          <a:p>
            <a:r>
              <a:rPr lang="en-US"/>
              <a:t>Click to edit Master title style</a:t>
            </a:r>
            <a:endParaRPr lang="en-US" dirty="0"/>
          </a:p>
        </p:txBody>
      </p:sp>
      <p:sp>
        <p:nvSpPr>
          <p:cNvPr id="21" name="Footer Placeholder 4"/>
          <p:cNvSpPr txBox="1">
            <a:spLocks/>
          </p:cNvSpPr>
          <p:nvPr userDrawn="1"/>
        </p:nvSpPr>
        <p:spPr>
          <a:xfrm>
            <a:off x="436960" y="4879547"/>
            <a:ext cx="3068239" cy="262265"/>
          </a:xfrm>
          <a:prstGeom prst="rect">
            <a:avLst/>
          </a:prstGeom>
        </p:spPr>
        <p:txBody>
          <a:bodyPr vert="horz" lIns="0" tIns="0" rIns="0" bIns="0" rtlCol="0" anchor="ctr"/>
          <a:lstStyle>
            <a:defPPr>
              <a:defRPr lang="en-US"/>
            </a:defPPr>
            <a:lvl1pPr algn="l" rtl="0" fontAlgn="base">
              <a:spcBef>
                <a:spcPct val="0"/>
              </a:spcBef>
              <a:spcAft>
                <a:spcPct val="0"/>
              </a:spcAft>
              <a:defRPr sz="675" kern="1200">
                <a:solidFill>
                  <a:schemeClr val="accent2"/>
                </a:solidFill>
                <a:latin typeface="+mn-lt"/>
                <a:ea typeface="+mn-ea"/>
                <a:cs typeface="+mn-cs"/>
              </a:defRPr>
            </a:lvl1pPr>
            <a:lvl2pPr marL="456835" algn="l" rtl="0" fontAlgn="base">
              <a:spcBef>
                <a:spcPct val="0"/>
              </a:spcBef>
              <a:spcAft>
                <a:spcPct val="0"/>
              </a:spcAft>
              <a:defRPr kern="1200">
                <a:solidFill>
                  <a:schemeClr val="tx1"/>
                </a:solidFill>
                <a:latin typeface="+mj-lt"/>
                <a:ea typeface="+mj-ea"/>
                <a:cs typeface="+mj-cs"/>
              </a:defRPr>
            </a:lvl2pPr>
            <a:lvl3pPr marL="913670" algn="l" rtl="0" fontAlgn="base">
              <a:spcBef>
                <a:spcPct val="0"/>
              </a:spcBef>
              <a:spcAft>
                <a:spcPct val="0"/>
              </a:spcAft>
              <a:defRPr kern="1200">
                <a:solidFill>
                  <a:schemeClr val="tx1"/>
                </a:solidFill>
                <a:latin typeface="+mj-lt"/>
                <a:ea typeface="+mj-ea"/>
                <a:cs typeface="+mj-cs"/>
              </a:defRPr>
            </a:lvl3pPr>
            <a:lvl4pPr marL="1370505" algn="l" rtl="0" fontAlgn="base">
              <a:spcBef>
                <a:spcPct val="0"/>
              </a:spcBef>
              <a:spcAft>
                <a:spcPct val="0"/>
              </a:spcAft>
              <a:defRPr kern="1200">
                <a:solidFill>
                  <a:schemeClr val="tx1"/>
                </a:solidFill>
                <a:latin typeface="+mj-lt"/>
                <a:ea typeface="+mj-ea"/>
                <a:cs typeface="+mj-cs"/>
              </a:defRPr>
            </a:lvl4pPr>
            <a:lvl5pPr marL="1827336" algn="l" rtl="0" fontAlgn="base">
              <a:spcBef>
                <a:spcPct val="0"/>
              </a:spcBef>
              <a:spcAft>
                <a:spcPct val="0"/>
              </a:spcAft>
              <a:defRPr kern="1200">
                <a:solidFill>
                  <a:schemeClr val="tx1"/>
                </a:solidFill>
                <a:latin typeface="+mj-lt"/>
                <a:ea typeface="+mj-ea"/>
                <a:cs typeface="+mj-cs"/>
              </a:defRPr>
            </a:lvl5pPr>
            <a:lvl6pPr marL="2284166" algn="l" defTabSz="913670" rtl="0" eaLnBrk="1" latinLnBrk="0" hangingPunct="1">
              <a:defRPr kern="1200">
                <a:solidFill>
                  <a:schemeClr val="tx1"/>
                </a:solidFill>
                <a:latin typeface="+mj-lt"/>
                <a:ea typeface="+mj-ea"/>
                <a:cs typeface="+mj-cs"/>
              </a:defRPr>
            </a:lvl6pPr>
            <a:lvl7pPr marL="2741009" algn="l" defTabSz="913670" rtl="0" eaLnBrk="1" latinLnBrk="0" hangingPunct="1">
              <a:defRPr kern="1200">
                <a:solidFill>
                  <a:schemeClr val="tx1"/>
                </a:solidFill>
                <a:latin typeface="+mj-lt"/>
                <a:ea typeface="+mj-ea"/>
                <a:cs typeface="+mj-cs"/>
              </a:defRPr>
            </a:lvl7pPr>
            <a:lvl8pPr marL="3197838" algn="l" defTabSz="913670" rtl="0" eaLnBrk="1" latinLnBrk="0" hangingPunct="1">
              <a:defRPr kern="1200">
                <a:solidFill>
                  <a:schemeClr val="tx1"/>
                </a:solidFill>
                <a:latin typeface="+mj-lt"/>
                <a:ea typeface="+mj-ea"/>
                <a:cs typeface="+mj-cs"/>
              </a:defRPr>
            </a:lvl8pPr>
            <a:lvl9pPr marL="3654669" algn="l" defTabSz="913670" rtl="0" eaLnBrk="1" latinLnBrk="0" hangingPunct="1">
              <a:defRPr kern="1200">
                <a:solidFill>
                  <a:schemeClr val="tx1"/>
                </a:solidFill>
                <a:latin typeface="+mj-lt"/>
                <a:ea typeface="+mj-ea"/>
                <a:cs typeface="+mj-cs"/>
              </a:defRPr>
            </a:lvl9pPr>
          </a:lstStyle>
          <a:p>
            <a:pPr algn="l" defTabSz="913708" rtl="0" fontAlgn="auto">
              <a:spcBef>
                <a:spcPts val="0"/>
              </a:spcBef>
              <a:spcAft>
                <a:spcPts val="0"/>
              </a:spcAft>
            </a:pPr>
            <a:r>
              <a:rPr lang="en-US" sz="600" kern="1200" dirty="0">
                <a:solidFill>
                  <a:schemeClr val="accent2"/>
                </a:solidFill>
                <a:latin typeface="+mn-lt"/>
                <a:ea typeface="+mn-ea"/>
                <a:cs typeface="+mn-cs"/>
              </a:rPr>
              <a:t>© 2018 Technology Business Management Council, All rights reserved.</a:t>
            </a:r>
          </a:p>
        </p:txBody>
      </p:sp>
      <p:sp>
        <p:nvSpPr>
          <p:cNvPr id="22" name="Slide Number Placeholder 5"/>
          <p:cNvSpPr txBox="1">
            <a:spLocks/>
          </p:cNvSpPr>
          <p:nvPr userDrawn="1"/>
        </p:nvSpPr>
        <p:spPr>
          <a:xfrm>
            <a:off x="-1192" y="4879547"/>
            <a:ext cx="339090" cy="262265"/>
          </a:xfrm>
          <a:prstGeom prst="rect">
            <a:avLst/>
          </a:prstGeom>
        </p:spPr>
        <p:txBody>
          <a:bodyPr vert="horz" lIns="0" tIns="0" rIns="0" bIns="0" rtlCol="0" anchor="ctr"/>
          <a:lstStyle>
            <a:defPPr>
              <a:defRPr lang="en-US"/>
            </a:defPPr>
            <a:lvl1pPr algn="r" rtl="0" fontAlgn="base">
              <a:spcBef>
                <a:spcPct val="0"/>
              </a:spcBef>
              <a:spcAft>
                <a:spcPct val="0"/>
              </a:spcAft>
              <a:defRPr sz="788" b="1" kern="1200">
                <a:solidFill>
                  <a:schemeClr val="accent1"/>
                </a:solidFill>
                <a:latin typeface="+mj-lt"/>
                <a:ea typeface="+mj-ea"/>
                <a:cs typeface="+mj-cs"/>
              </a:defRPr>
            </a:lvl1pPr>
            <a:lvl2pPr marL="456835" algn="l" rtl="0" fontAlgn="base">
              <a:spcBef>
                <a:spcPct val="0"/>
              </a:spcBef>
              <a:spcAft>
                <a:spcPct val="0"/>
              </a:spcAft>
              <a:defRPr kern="1200">
                <a:solidFill>
                  <a:schemeClr val="tx1"/>
                </a:solidFill>
                <a:latin typeface="+mj-lt"/>
                <a:ea typeface="+mj-ea"/>
                <a:cs typeface="+mj-cs"/>
              </a:defRPr>
            </a:lvl2pPr>
            <a:lvl3pPr marL="913670" algn="l" rtl="0" fontAlgn="base">
              <a:spcBef>
                <a:spcPct val="0"/>
              </a:spcBef>
              <a:spcAft>
                <a:spcPct val="0"/>
              </a:spcAft>
              <a:defRPr kern="1200">
                <a:solidFill>
                  <a:schemeClr val="tx1"/>
                </a:solidFill>
                <a:latin typeface="+mj-lt"/>
                <a:ea typeface="+mj-ea"/>
                <a:cs typeface="+mj-cs"/>
              </a:defRPr>
            </a:lvl3pPr>
            <a:lvl4pPr marL="1370505" algn="l" rtl="0" fontAlgn="base">
              <a:spcBef>
                <a:spcPct val="0"/>
              </a:spcBef>
              <a:spcAft>
                <a:spcPct val="0"/>
              </a:spcAft>
              <a:defRPr kern="1200">
                <a:solidFill>
                  <a:schemeClr val="tx1"/>
                </a:solidFill>
                <a:latin typeface="+mj-lt"/>
                <a:ea typeface="+mj-ea"/>
                <a:cs typeface="+mj-cs"/>
              </a:defRPr>
            </a:lvl4pPr>
            <a:lvl5pPr marL="1827336" algn="l" rtl="0" fontAlgn="base">
              <a:spcBef>
                <a:spcPct val="0"/>
              </a:spcBef>
              <a:spcAft>
                <a:spcPct val="0"/>
              </a:spcAft>
              <a:defRPr kern="1200">
                <a:solidFill>
                  <a:schemeClr val="tx1"/>
                </a:solidFill>
                <a:latin typeface="+mj-lt"/>
                <a:ea typeface="+mj-ea"/>
                <a:cs typeface="+mj-cs"/>
              </a:defRPr>
            </a:lvl5pPr>
            <a:lvl6pPr marL="2284166" algn="l" defTabSz="913670" rtl="0" eaLnBrk="1" latinLnBrk="0" hangingPunct="1">
              <a:defRPr kern="1200">
                <a:solidFill>
                  <a:schemeClr val="tx1"/>
                </a:solidFill>
                <a:latin typeface="+mj-lt"/>
                <a:ea typeface="+mj-ea"/>
                <a:cs typeface="+mj-cs"/>
              </a:defRPr>
            </a:lvl6pPr>
            <a:lvl7pPr marL="2741009" algn="l" defTabSz="913670" rtl="0" eaLnBrk="1" latinLnBrk="0" hangingPunct="1">
              <a:defRPr kern="1200">
                <a:solidFill>
                  <a:schemeClr val="tx1"/>
                </a:solidFill>
                <a:latin typeface="+mj-lt"/>
                <a:ea typeface="+mj-ea"/>
                <a:cs typeface="+mj-cs"/>
              </a:defRPr>
            </a:lvl7pPr>
            <a:lvl8pPr marL="3197838" algn="l" defTabSz="913670" rtl="0" eaLnBrk="1" latinLnBrk="0" hangingPunct="1">
              <a:defRPr kern="1200">
                <a:solidFill>
                  <a:schemeClr val="tx1"/>
                </a:solidFill>
                <a:latin typeface="+mj-lt"/>
                <a:ea typeface="+mj-ea"/>
                <a:cs typeface="+mj-cs"/>
              </a:defRPr>
            </a:lvl8pPr>
            <a:lvl9pPr marL="3654669" algn="l" defTabSz="913670" rtl="0" eaLnBrk="1" latinLnBrk="0" hangingPunct="1">
              <a:defRPr kern="1200">
                <a:solidFill>
                  <a:schemeClr val="tx1"/>
                </a:solidFill>
                <a:latin typeface="+mj-lt"/>
                <a:ea typeface="+mj-ea"/>
                <a:cs typeface="+mj-cs"/>
              </a:defRPr>
            </a:lvl9pPr>
          </a:lstStyle>
          <a:p>
            <a:pPr defTabSz="913708" fontAlgn="auto">
              <a:spcBef>
                <a:spcPts val="0"/>
              </a:spcBef>
              <a:spcAft>
                <a:spcPts val="0"/>
              </a:spcAft>
            </a:pPr>
            <a:fld id="{4C1362D4-5ABD-4326-94E6-7A5ADE3C9964}" type="slidenum">
              <a:rPr lang="en-US" sz="700" smtClean="0">
                <a:solidFill>
                  <a:schemeClr val="accent1"/>
                </a:solidFill>
                <a:ea typeface="+mn-ea"/>
              </a:rPr>
              <a:pPr defTabSz="913708" fontAlgn="auto">
                <a:spcBef>
                  <a:spcPts val="0"/>
                </a:spcBef>
                <a:spcAft>
                  <a:spcPts val="0"/>
                </a:spcAft>
              </a:pPr>
              <a:t>‹#›</a:t>
            </a:fld>
            <a:endParaRPr lang="en-US" sz="700" dirty="0">
              <a:solidFill>
                <a:schemeClr val="accent1"/>
              </a:solidFill>
              <a:ea typeface="+mn-ea"/>
            </a:endParaRPr>
          </a:p>
        </p:txBody>
      </p:sp>
      <p:sp>
        <p:nvSpPr>
          <p:cNvPr id="5" name="Text Placeholder 4"/>
          <p:cNvSpPr>
            <a:spLocks noGrp="1"/>
          </p:cNvSpPr>
          <p:nvPr>
            <p:ph type="body" idx="1"/>
          </p:nvPr>
        </p:nvSpPr>
        <p:spPr>
          <a:xfrm>
            <a:off x="457201" y="914401"/>
            <a:ext cx="8229601" cy="371474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6" name="Group 15"/>
          <p:cNvGrpSpPr>
            <a:grpSpLocks noChangeAspect="1"/>
          </p:cNvGrpSpPr>
          <p:nvPr userDrawn="1"/>
        </p:nvGrpSpPr>
        <p:grpSpPr>
          <a:xfrm>
            <a:off x="7721600" y="4855433"/>
            <a:ext cx="1143001" cy="186415"/>
            <a:chOff x="2498725" y="0"/>
            <a:chExt cx="4146551" cy="676276"/>
          </a:xfrm>
        </p:grpSpPr>
        <p:sp>
          <p:nvSpPr>
            <p:cNvPr id="17" name="Freeform 5"/>
            <p:cNvSpPr>
              <a:spLocks noChangeAspect="1" noEditPoints="1"/>
            </p:cNvSpPr>
            <p:nvPr/>
          </p:nvSpPr>
          <p:spPr bwMode="auto">
            <a:xfrm>
              <a:off x="3443288" y="239713"/>
              <a:ext cx="3201988" cy="249238"/>
            </a:xfrm>
            <a:custGeom>
              <a:avLst/>
              <a:gdLst>
                <a:gd name="T0" fmla="*/ 1991 w 33994"/>
                <a:gd name="T1" fmla="*/ 64 h 2645"/>
                <a:gd name="T2" fmla="*/ 1273 w 33994"/>
                <a:gd name="T3" fmla="*/ 555 h 2645"/>
                <a:gd name="T4" fmla="*/ 718 w 33994"/>
                <a:gd name="T5" fmla="*/ 2581 h 2645"/>
                <a:gd name="T6" fmla="*/ 0 w 33994"/>
                <a:gd name="T7" fmla="*/ 555 h 2645"/>
                <a:gd name="T8" fmla="*/ 5171 w 33994"/>
                <a:gd name="T9" fmla="*/ 1881 h 2645"/>
                <a:gd name="T10" fmla="*/ 3195 w 33994"/>
                <a:gd name="T11" fmla="*/ 2581 h 2645"/>
                <a:gd name="T12" fmla="*/ 4133 w 33994"/>
                <a:gd name="T13" fmla="*/ 64 h 2645"/>
                <a:gd name="T14" fmla="*/ 4620 w 33994"/>
                <a:gd name="T15" fmla="*/ 1259 h 2645"/>
                <a:gd name="T16" fmla="*/ 5171 w 33994"/>
                <a:gd name="T17" fmla="*/ 1881 h 2645"/>
                <a:gd name="T18" fmla="*/ 4151 w 33994"/>
                <a:gd name="T19" fmla="*/ 1070 h 2645"/>
                <a:gd name="T20" fmla="*/ 4126 w 33994"/>
                <a:gd name="T21" fmla="*/ 534 h 2645"/>
                <a:gd name="T22" fmla="*/ 3749 w 33994"/>
                <a:gd name="T23" fmla="*/ 1070 h 2645"/>
                <a:gd name="T24" fmla="*/ 4169 w 33994"/>
                <a:gd name="T25" fmla="*/ 1540 h 2645"/>
                <a:gd name="T26" fmla="*/ 3749 w 33994"/>
                <a:gd name="T27" fmla="*/ 2112 h 2645"/>
                <a:gd name="T28" fmla="*/ 4617 w 33994"/>
                <a:gd name="T29" fmla="*/ 1817 h 2645"/>
                <a:gd name="T30" fmla="*/ 7697 w 33994"/>
                <a:gd name="T31" fmla="*/ 1707 h 2645"/>
                <a:gd name="T32" fmla="*/ 6279 w 33994"/>
                <a:gd name="T33" fmla="*/ 64 h 2645"/>
                <a:gd name="T34" fmla="*/ 6833 w 33994"/>
                <a:gd name="T35" fmla="*/ 2581 h 2645"/>
                <a:gd name="T36" fmla="*/ 6840 w 33994"/>
                <a:gd name="T37" fmla="*/ 651 h 2645"/>
                <a:gd name="T38" fmla="*/ 7900 w 33994"/>
                <a:gd name="T39" fmla="*/ 2581 h 2645"/>
                <a:gd name="T40" fmla="*/ 8568 w 33994"/>
                <a:gd name="T41" fmla="*/ 651 h 2645"/>
                <a:gd name="T42" fmla="*/ 9123 w 33994"/>
                <a:gd name="T43" fmla="*/ 2581 h 2645"/>
                <a:gd name="T44" fmla="*/ 8287 w 33994"/>
                <a:gd name="T45" fmla="*/ 64 h 2645"/>
                <a:gd name="T46" fmla="*/ 13062 w 33994"/>
                <a:gd name="T47" fmla="*/ 2411 h 2645"/>
                <a:gd name="T48" fmla="*/ 13062 w 33994"/>
                <a:gd name="T49" fmla="*/ 235 h 2645"/>
                <a:gd name="T50" fmla="*/ 13933 w 33994"/>
                <a:gd name="T51" fmla="*/ 399 h 2645"/>
                <a:gd name="T52" fmla="*/ 11751 w 33994"/>
                <a:gd name="T53" fmla="*/ 1323 h 2645"/>
                <a:gd name="T54" fmla="*/ 13994 w 33994"/>
                <a:gd name="T55" fmla="*/ 2183 h 2645"/>
                <a:gd name="T56" fmla="*/ 13062 w 33994"/>
                <a:gd name="T57" fmla="*/ 2411 h 2645"/>
                <a:gd name="T58" fmla="*/ 16559 w 33994"/>
                <a:gd name="T59" fmla="*/ 2645 h 2645"/>
                <a:gd name="T60" fmla="*/ 16559 w 33994"/>
                <a:gd name="T61" fmla="*/ 0 h 2645"/>
                <a:gd name="T62" fmla="*/ 17593 w 33994"/>
                <a:gd name="T63" fmla="*/ 1323 h 2645"/>
                <a:gd name="T64" fmla="*/ 15524 w 33994"/>
                <a:gd name="T65" fmla="*/ 1323 h 2645"/>
                <a:gd name="T66" fmla="*/ 17593 w 33994"/>
                <a:gd name="T67" fmla="*/ 1323 h 2645"/>
                <a:gd name="T68" fmla="*/ 20254 w 33994"/>
                <a:gd name="T69" fmla="*/ 2411 h 2645"/>
                <a:gd name="T70" fmla="*/ 19589 w 33994"/>
                <a:gd name="T71" fmla="*/ 64 h 2645"/>
                <a:gd name="T72" fmla="*/ 19333 w 33994"/>
                <a:gd name="T73" fmla="*/ 1643 h 2645"/>
                <a:gd name="T74" fmla="*/ 21175 w 33994"/>
                <a:gd name="T75" fmla="*/ 1643 h 2645"/>
                <a:gd name="T76" fmla="*/ 20919 w 33994"/>
                <a:gd name="T77" fmla="*/ 64 h 2645"/>
                <a:gd name="T78" fmla="*/ 24777 w 33994"/>
                <a:gd name="T79" fmla="*/ 2197 h 2645"/>
                <a:gd name="T80" fmla="*/ 23270 w 33994"/>
                <a:gd name="T81" fmla="*/ 64 h 2645"/>
                <a:gd name="T82" fmla="*/ 22950 w 33994"/>
                <a:gd name="T83" fmla="*/ 2581 h 2645"/>
                <a:gd name="T84" fmla="*/ 23206 w 33994"/>
                <a:gd name="T85" fmla="*/ 427 h 2645"/>
                <a:gd name="T86" fmla="*/ 24713 w 33994"/>
                <a:gd name="T87" fmla="*/ 2581 h 2645"/>
                <a:gd name="T88" fmla="*/ 25033 w 33994"/>
                <a:gd name="T89" fmla="*/ 64 h 2645"/>
                <a:gd name="T90" fmla="*/ 24777 w 33994"/>
                <a:gd name="T91" fmla="*/ 2197 h 2645"/>
                <a:gd name="T92" fmla="*/ 26958 w 33994"/>
                <a:gd name="T93" fmla="*/ 1323 h 2645"/>
                <a:gd name="T94" fmla="*/ 28640 w 33994"/>
                <a:gd name="T95" fmla="*/ 566 h 2645"/>
                <a:gd name="T96" fmla="*/ 27993 w 33994"/>
                <a:gd name="T97" fmla="*/ 0 h 2645"/>
                <a:gd name="T98" fmla="*/ 27993 w 33994"/>
                <a:gd name="T99" fmla="*/ 2645 h 2645"/>
                <a:gd name="T100" fmla="*/ 28714 w 33994"/>
                <a:gd name="T101" fmla="*/ 2034 h 2645"/>
                <a:gd name="T102" fmla="*/ 30490 w 33994"/>
                <a:gd name="T103" fmla="*/ 2581 h 2645"/>
                <a:gd name="T104" fmla="*/ 30746 w 33994"/>
                <a:gd name="T105" fmla="*/ 64 h 2645"/>
                <a:gd name="T106" fmla="*/ 30490 w 33994"/>
                <a:gd name="T107" fmla="*/ 2581 h 2645"/>
                <a:gd name="T108" fmla="*/ 32821 w 33994"/>
                <a:gd name="T109" fmla="*/ 64 h 2645"/>
                <a:gd name="T110" fmla="*/ 32565 w 33994"/>
                <a:gd name="T111" fmla="*/ 2581 h 2645"/>
                <a:gd name="T112" fmla="*/ 33994 w 33994"/>
                <a:gd name="T113" fmla="*/ 2347 h 2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994" h="2645">
                  <a:moveTo>
                    <a:pt x="0" y="64"/>
                  </a:moveTo>
                  <a:cubicBezTo>
                    <a:pt x="1991" y="64"/>
                    <a:pt x="1991" y="64"/>
                    <a:pt x="1991" y="64"/>
                  </a:cubicBezTo>
                  <a:cubicBezTo>
                    <a:pt x="1991" y="555"/>
                    <a:pt x="1991" y="555"/>
                    <a:pt x="1991" y="555"/>
                  </a:cubicBezTo>
                  <a:cubicBezTo>
                    <a:pt x="1273" y="555"/>
                    <a:pt x="1273" y="555"/>
                    <a:pt x="1273" y="555"/>
                  </a:cubicBezTo>
                  <a:cubicBezTo>
                    <a:pt x="1273" y="2581"/>
                    <a:pt x="1273" y="2581"/>
                    <a:pt x="1273" y="2581"/>
                  </a:cubicBezTo>
                  <a:cubicBezTo>
                    <a:pt x="718" y="2581"/>
                    <a:pt x="718" y="2581"/>
                    <a:pt x="718" y="2581"/>
                  </a:cubicBezTo>
                  <a:cubicBezTo>
                    <a:pt x="718" y="555"/>
                    <a:pt x="718" y="555"/>
                    <a:pt x="718" y="555"/>
                  </a:cubicBezTo>
                  <a:cubicBezTo>
                    <a:pt x="0" y="555"/>
                    <a:pt x="0" y="555"/>
                    <a:pt x="0" y="555"/>
                  </a:cubicBezTo>
                  <a:lnTo>
                    <a:pt x="0" y="64"/>
                  </a:lnTo>
                  <a:close/>
                  <a:moveTo>
                    <a:pt x="5171" y="1881"/>
                  </a:moveTo>
                  <a:cubicBezTo>
                    <a:pt x="5171" y="2407"/>
                    <a:pt x="4673" y="2581"/>
                    <a:pt x="4225" y="2581"/>
                  </a:cubicBezTo>
                  <a:cubicBezTo>
                    <a:pt x="3195" y="2581"/>
                    <a:pt x="3195" y="2581"/>
                    <a:pt x="3195" y="2581"/>
                  </a:cubicBezTo>
                  <a:cubicBezTo>
                    <a:pt x="3195" y="64"/>
                    <a:pt x="3195" y="64"/>
                    <a:pt x="3195" y="64"/>
                  </a:cubicBezTo>
                  <a:cubicBezTo>
                    <a:pt x="4133" y="64"/>
                    <a:pt x="4133" y="64"/>
                    <a:pt x="4133" y="64"/>
                  </a:cubicBezTo>
                  <a:cubicBezTo>
                    <a:pt x="4574" y="64"/>
                    <a:pt x="5054" y="157"/>
                    <a:pt x="5054" y="704"/>
                  </a:cubicBezTo>
                  <a:cubicBezTo>
                    <a:pt x="5054" y="985"/>
                    <a:pt x="4880" y="1177"/>
                    <a:pt x="4620" y="1259"/>
                  </a:cubicBezTo>
                  <a:cubicBezTo>
                    <a:pt x="4620" y="1266"/>
                    <a:pt x="4620" y="1266"/>
                    <a:pt x="4620" y="1266"/>
                  </a:cubicBezTo>
                  <a:cubicBezTo>
                    <a:pt x="4951" y="1309"/>
                    <a:pt x="5171" y="1554"/>
                    <a:pt x="5171" y="1881"/>
                  </a:cubicBezTo>
                  <a:close/>
                  <a:moveTo>
                    <a:pt x="3749" y="1070"/>
                  </a:moveTo>
                  <a:cubicBezTo>
                    <a:pt x="4151" y="1070"/>
                    <a:pt x="4151" y="1070"/>
                    <a:pt x="4151" y="1070"/>
                  </a:cubicBezTo>
                  <a:cubicBezTo>
                    <a:pt x="4321" y="1070"/>
                    <a:pt x="4499" y="999"/>
                    <a:pt x="4499" y="797"/>
                  </a:cubicBezTo>
                  <a:cubicBezTo>
                    <a:pt x="4499" y="587"/>
                    <a:pt x="4300" y="534"/>
                    <a:pt x="4126" y="534"/>
                  </a:cubicBezTo>
                  <a:cubicBezTo>
                    <a:pt x="3749" y="534"/>
                    <a:pt x="3749" y="534"/>
                    <a:pt x="3749" y="534"/>
                  </a:cubicBezTo>
                  <a:lnTo>
                    <a:pt x="3749" y="1070"/>
                  </a:lnTo>
                  <a:close/>
                  <a:moveTo>
                    <a:pt x="4617" y="1817"/>
                  </a:moveTo>
                  <a:cubicBezTo>
                    <a:pt x="4617" y="1579"/>
                    <a:pt x="4350" y="1540"/>
                    <a:pt x="4169" y="1540"/>
                  </a:cubicBezTo>
                  <a:cubicBezTo>
                    <a:pt x="3749" y="1540"/>
                    <a:pt x="3749" y="1540"/>
                    <a:pt x="3749" y="1540"/>
                  </a:cubicBezTo>
                  <a:cubicBezTo>
                    <a:pt x="3749" y="2112"/>
                    <a:pt x="3749" y="2112"/>
                    <a:pt x="3749" y="2112"/>
                  </a:cubicBezTo>
                  <a:cubicBezTo>
                    <a:pt x="4247" y="2112"/>
                    <a:pt x="4247" y="2112"/>
                    <a:pt x="4247" y="2112"/>
                  </a:cubicBezTo>
                  <a:cubicBezTo>
                    <a:pt x="4421" y="2112"/>
                    <a:pt x="4617" y="2037"/>
                    <a:pt x="4617" y="1817"/>
                  </a:cubicBezTo>
                  <a:close/>
                  <a:moveTo>
                    <a:pt x="7704" y="1707"/>
                  </a:moveTo>
                  <a:cubicBezTo>
                    <a:pt x="7697" y="1707"/>
                    <a:pt x="7697" y="1707"/>
                    <a:pt x="7697" y="1707"/>
                  </a:cubicBezTo>
                  <a:cubicBezTo>
                    <a:pt x="7118" y="64"/>
                    <a:pt x="7118" y="64"/>
                    <a:pt x="7118" y="64"/>
                  </a:cubicBezTo>
                  <a:cubicBezTo>
                    <a:pt x="6279" y="64"/>
                    <a:pt x="6279" y="64"/>
                    <a:pt x="6279" y="64"/>
                  </a:cubicBezTo>
                  <a:cubicBezTo>
                    <a:pt x="6279" y="2581"/>
                    <a:pt x="6279" y="2581"/>
                    <a:pt x="6279" y="2581"/>
                  </a:cubicBezTo>
                  <a:cubicBezTo>
                    <a:pt x="6833" y="2581"/>
                    <a:pt x="6833" y="2581"/>
                    <a:pt x="6833" y="2581"/>
                  </a:cubicBezTo>
                  <a:cubicBezTo>
                    <a:pt x="6833" y="651"/>
                    <a:pt x="6833" y="651"/>
                    <a:pt x="6833" y="651"/>
                  </a:cubicBezTo>
                  <a:cubicBezTo>
                    <a:pt x="6840" y="651"/>
                    <a:pt x="6840" y="651"/>
                    <a:pt x="6840" y="651"/>
                  </a:cubicBezTo>
                  <a:cubicBezTo>
                    <a:pt x="7477" y="2581"/>
                    <a:pt x="7477" y="2581"/>
                    <a:pt x="7477" y="2581"/>
                  </a:cubicBezTo>
                  <a:cubicBezTo>
                    <a:pt x="7900" y="2581"/>
                    <a:pt x="7900" y="2581"/>
                    <a:pt x="7900" y="2581"/>
                  </a:cubicBezTo>
                  <a:cubicBezTo>
                    <a:pt x="8561" y="651"/>
                    <a:pt x="8561" y="651"/>
                    <a:pt x="8561" y="651"/>
                  </a:cubicBezTo>
                  <a:cubicBezTo>
                    <a:pt x="8568" y="651"/>
                    <a:pt x="8568" y="651"/>
                    <a:pt x="8568" y="651"/>
                  </a:cubicBezTo>
                  <a:cubicBezTo>
                    <a:pt x="8568" y="2581"/>
                    <a:pt x="8568" y="2581"/>
                    <a:pt x="8568" y="2581"/>
                  </a:cubicBezTo>
                  <a:cubicBezTo>
                    <a:pt x="9123" y="2581"/>
                    <a:pt x="9123" y="2581"/>
                    <a:pt x="9123" y="2581"/>
                  </a:cubicBezTo>
                  <a:cubicBezTo>
                    <a:pt x="9123" y="64"/>
                    <a:pt x="9123" y="64"/>
                    <a:pt x="9123" y="64"/>
                  </a:cubicBezTo>
                  <a:cubicBezTo>
                    <a:pt x="8287" y="64"/>
                    <a:pt x="8287" y="64"/>
                    <a:pt x="8287" y="64"/>
                  </a:cubicBezTo>
                  <a:lnTo>
                    <a:pt x="7704" y="1707"/>
                  </a:lnTo>
                  <a:close/>
                  <a:moveTo>
                    <a:pt x="13062" y="2411"/>
                  </a:moveTo>
                  <a:cubicBezTo>
                    <a:pt x="12415" y="2411"/>
                    <a:pt x="12028" y="1902"/>
                    <a:pt x="12028" y="1323"/>
                  </a:cubicBezTo>
                  <a:cubicBezTo>
                    <a:pt x="12028" y="743"/>
                    <a:pt x="12415" y="235"/>
                    <a:pt x="13062" y="235"/>
                  </a:cubicBezTo>
                  <a:cubicBezTo>
                    <a:pt x="13329" y="235"/>
                    <a:pt x="13610" y="402"/>
                    <a:pt x="13709" y="566"/>
                  </a:cubicBezTo>
                  <a:cubicBezTo>
                    <a:pt x="13933" y="399"/>
                    <a:pt x="13933" y="399"/>
                    <a:pt x="13933" y="399"/>
                  </a:cubicBezTo>
                  <a:cubicBezTo>
                    <a:pt x="13713" y="118"/>
                    <a:pt x="13375" y="0"/>
                    <a:pt x="13062" y="0"/>
                  </a:cubicBezTo>
                  <a:cubicBezTo>
                    <a:pt x="12312" y="0"/>
                    <a:pt x="11751" y="558"/>
                    <a:pt x="11751" y="1323"/>
                  </a:cubicBezTo>
                  <a:cubicBezTo>
                    <a:pt x="11751" y="2087"/>
                    <a:pt x="12312" y="2645"/>
                    <a:pt x="13062" y="2645"/>
                  </a:cubicBezTo>
                  <a:cubicBezTo>
                    <a:pt x="13478" y="2645"/>
                    <a:pt x="13827" y="2443"/>
                    <a:pt x="13994" y="2183"/>
                  </a:cubicBezTo>
                  <a:cubicBezTo>
                    <a:pt x="13784" y="2034"/>
                    <a:pt x="13784" y="2034"/>
                    <a:pt x="13784" y="2034"/>
                  </a:cubicBezTo>
                  <a:cubicBezTo>
                    <a:pt x="13595" y="2325"/>
                    <a:pt x="13325" y="2411"/>
                    <a:pt x="13062" y="2411"/>
                  </a:cubicBezTo>
                  <a:close/>
                  <a:moveTo>
                    <a:pt x="17870" y="1323"/>
                  </a:moveTo>
                  <a:cubicBezTo>
                    <a:pt x="17870" y="2087"/>
                    <a:pt x="17309" y="2645"/>
                    <a:pt x="16559" y="2645"/>
                  </a:cubicBezTo>
                  <a:cubicBezTo>
                    <a:pt x="15809" y="2645"/>
                    <a:pt x="15247" y="2087"/>
                    <a:pt x="15247" y="1323"/>
                  </a:cubicBezTo>
                  <a:cubicBezTo>
                    <a:pt x="15247" y="558"/>
                    <a:pt x="15809" y="0"/>
                    <a:pt x="16559" y="0"/>
                  </a:cubicBezTo>
                  <a:cubicBezTo>
                    <a:pt x="17309" y="0"/>
                    <a:pt x="17870" y="558"/>
                    <a:pt x="17870" y="1323"/>
                  </a:cubicBezTo>
                  <a:close/>
                  <a:moveTo>
                    <a:pt x="17593" y="1323"/>
                  </a:moveTo>
                  <a:cubicBezTo>
                    <a:pt x="17593" y="743"/>
                    <a:pt x="17206" y="235"/>
                    <a:pt x="16559" y="235"/>
                  </a:cubicBezTo>
                  <a:cubicBezTo>
                    <a:pt x="15912" y="235"/>
                    <a:pt x="15524" y="743"/>
                    <a:pt x="15524" y="1323"/>
                  </a:cubicBezTo>
                  <a:cubicBezTo>
                    <a:pt x="15524" y="1902"/>
                    <a:pt x="15912" y="2411"/>
                    <a:pt x="16559" y="2411"/>
                  </a:cubicBezTo>
                  <a:cubicBezTo>
                    <a:pt x="17206" y="2411"/>
                    <a:pt x="17593" y="1902"/>
                    <a:pt x="17593" y="1323"/>
                  </a:cubicBezTo>
                  <a:close/>
                  <a:moveTo>
                    <a:pt x="20919" y="1614"/>
                  </a:moveTo>
                  <a:cubicBezTo>
                    <a:pt x="20919" y="2339"/>
                    <a:pt x="20446" y="2411"/>
                    <a:pt x="20254" y="2411"/>
                  </a:cubicBezTo>
                  <a:cubicBezTo>
                    <a:pt x="20062" y="2411"/>
                    <a:pt x="19589" y="2339"/>
                    <a:pt x="19589" y="1614"/>
                  </a:cubicBezTo>
                  <a:cubicBezTo>
                    <a:pt x="19589" y="64"/>
                    <a:pt x="19589" y="64"/>
                    <a:pt x="19589" y="64"/>
                  </a:cubicBezTo>
                  <a:cubicBezTo>
                    <a:pt x="19333" y="64"/>
                    <a:pt x="19333" y="64"/>
                    <a:pt x="19333" y="64"/>
                  </a:cubicBezTo>
                  <a:cubicBezTo>
                    <a:pt x="19333" y="1643"/>
                    <a:pt x="19333" y="1643"/>
                    <a:pt x="19333" y="1643"/>
                  </a:cubicBezTo>
                  <a:cubicBezTo>
                    <a:pt x="19333" y="2062"/>
                    <a:pt x="19500" y="2645"/>
                    <a:pt x="20254" y="2645"/>
                  </a:cubicBezTo>
                  <a:cubicBezTo>
                    <a:pt x="21007" y="2645"/>
                    <a:pt x="21175" y="2062"/>
                    <a:pt x="21175" y="1643"/>
                  </a:cubicBezTo>
                  <a:cubicBezTo>
                    <a:pt x="21175" y="64"/>
                    <a:pt x="21175" y="64"/>
                    <a:pt x="21175" y="64"/>
                  </a:cubicBezTo>
                  <a:cubicBezTo>
                    <a:pt x="20919" y="64"/>
                    <a:pt x="20919" y="64"/>
                    <a:pt x="20919" y="64"/>
                  </a:cubicBezTo>
                  <a:lnTo>
                    <a:pt x="20919" y="1614"/>
                  </a:lnTo>
                  <a:close/>
                  <a:moveTo>
                    <a:pt x="24777" y="2197"/>
                  </a:moveTo>
                  <a:cubicBezTo>
                    <a:pt x="24770" y="2197"/>
                    <a:pt x="24770" y="2197"/>
                    <a:pt x="24770" y="2197"/>
                  </a:cubicBezTo>
                  <a:cubicBezTo>
                    <a:pt x="23270" y="64"/>
                    <a:pt x="23270" y="64"/>
                    <a:pt x="23270" y="64"/>
                  </a:cubicBezTo>
                  <a:cubicBezTo>
                    <a:pt x="22950" y="64"/>
                    <a:pt x="22950" y="64"/>
                    <a:pt x="22950" y="64"/>
                  </a:cubicBezTo>
                  <a:cubicBezTo>
                    <a:pt x="22950" y="2581"/>
                    <a:pt x="22950" y="2581"/>
                    <a:pt x="22950" y="2581"/>
                  </a:cubicBezTo>
                  <a:cubicBezTo>
                    <a:pt x="23206" y="2581"/>
                    <a:pt x="23206" y="2581"/>
                    <a:pt x="23206" y="2581"/>
                  </a:cubicBezTo>
                  <a:cubicBezTo>
                    <a:pt x="23206" y="427"/>
                    <a:pt x="23206" y="427"/>
                    <a:pt x="23206" y="427"/>
                  </a:cubicBezTo>
                  <a:cubicBezTo>
                    <a:pt x="23213" y="427"/>
                    <a:pt x="23213" y="427"/>
                    <a:pt x="23213" y="427"/>
                  </a:cubicBezTo>
                  <a:cubicBezTo>
                    <a:pt x="24713" y="2581"/>
                    <a:pt x="24713" y="2581"/>
                    <a:pt x="24713" y="2581"/>
                  </a:cubicBezTo>
                  <a:cubicBezTo>
                    <a:pt x="25033" y="2581"/>
                    <a:pt x="25033" y="2581"/>
                    <a:pt x="25033" y="2581"/>
                  </a:cubicBezTo>
                  <a:cubicBezTo>
                    <a:pt x="25033" y="64"/>
                    <a:pt x="25033" y="64"/>
                    <a:pt x="25033" y="64"/>
                  </a:cubicBezTo>
                  <a:cubicBezTo>
                    <a:pt x="24777" y="64"/>
                    <a:pt x="24777" y="64"/>
                    <a:pt x="24777" y="64"/>
                  </a:cubicBezTo>
                  <a:lnTo>
                    <a:pt x="24777" y="2197"/>
                  </a:lnTo>
                  <a:close/>
                  <a:moveTo>
                    <a:pt x="27993" y="2411"/>
                  </a:moveTo>
                  <a:cubicBezTo>
                    <a:pt x="27346" y="2411"/>
                    <a:pt x="26958" y="1902"/>
                    <a:pt x="26958" y="1323"/>
                  </a:cubicBezTo>
                  <a:cubicBezTo>
                    <a:pt x="26958" y="743"/>
                    <a:pt x="27346" y="235"/>
                    <a:pt x="27993" y="235"/>
                  </a:cubicBezTo>
                  <a:cubicBezTo>
                    <a:pt x="28259" y="235"/>
                    <a:pt x="28540" y="402"/>
                    <a:pt x="28640" y="566"/>
                  </a:cubicBezTo>
                  <a:cubicBezTo>
                    <a:pt x="28864" y="399"/>
                    <a:pt x="28864" y="399"/>
                    <a:pt x="28864" y="399"/>
                  </a:cubicBezTo>
                  <a:cubicBezTo>
                    <a:pt x="28643" y="118"/>
                    <a:pt x="28306" y="0"/>
                    <a:pt x="27993" y="0"/>
                  </a:cubicBezTo>
                  <a:cubicBezTo>
                    <a:pt x="27243" y="0"/>
                    <a:pt x="26681" y="558"/>
                    <a:pt x="26681" y="1323"/>
                  </a:cubicBezTo>
                  <a:cubicBezTo>
                    <a:pt x="26681" y="2087"/>
                    <a:pt x="27243" y="2645"/>
                    <a:pt x="27993" y="2645"/>
                  </a:cubicBezTo>
                  <a:cubicBezTo>
                    <a:pt x="28409" y="2645"/>
                    <a:pt x="28757" y="2443"/>
                    <a:pt x="28924" y="2183"/>
                  </a:cubicBezTo>
                  <a:cubicBezTo>
                    <a:pt x="28714" y="2034"/>
                    <a:pt x="28714" y="2034"/>
                    <a:pt x="28714" y="2034"/>
                  </a:cubicBezTo>
                  <a:cubicBezTo>
                    <a:pt x="28526" y="2325"/>
                    <a:pt x="28256" y="2411"/>
                    <a:pt x="27993" y="2411"/>
                  </a:cubicBezTo>
                  <a:close/>
                  <a:moveTo>
                    <a:pt x="30490" y="2581"/>
                  </a:moveTo>
                  <a:cubicBezTo>
                    <a:pt x="30746" y="2581"/>
                    <a:pt x="30746" y="2581"/>
                    <a:pt x="30746" y="2581"/>
                  </a:cubicBezTo>
                  <a:cubicBezTo>
                    <a:pt x="30746" y="64"/>
                    <a:pt x="30746" y="64"/>
                    <a:pt x="30746" y="64"/>
                  </a:cubicBezTo>
                  <a:cubicBezTo>
                    <a:pt x="30490" y="64"/>
                    <a:pt x="30490" y="64"/>
                    <a:pt x="30490" y="64"/>
                  </a:cubicBezTo>
                  <a:lnTo>
                    <a:pt x="30490" y="2581"/>
                  </a:lnTo>
                  <a:close/>
                  <a:moveTo>
                    <a:pt x="32821" y="2347"/>
                  </a:moveTo>
                  <a:cubicBezTo>
                    <a:pt x="32821" y="64"/>
                    <a:pt x="32821" y="64"/>
                    <a:pt x="32821" y="64"/>
                  </a:cubicBezTo>
                  <a:cubicBezTo>
                    <a:pt x="32565" y="64"/>
                    <a:pt x="32565" y="64"/>
                    <a:pt x="32565" y="64"/>
                  </a:cubicBezTo>
                  <a:cubicBezTo>
                    <a:pt x="32565" y="2581"/>
                    <a:pt x="32565" y="2581"/>
                    <a:pt x="32565" y="2581"/>
                  </a:cubicBezTo>
                  <a:cubicBezTo>
                    <a:pt x="33994" y="2581"/>
                    <a:pt x="33994" y="2581"/>
                    <a:pt x="33994" y="2581"/>
                  </a:cubicBezTo>
                  <a:cubicBezTo>
                    <a:pt x="33994" y="2347"/>
                    <a:pt x="33994" y="2347"/>
                    <a:pt x="33994" y="2347"/>
                  </a:cubicBezTo>
                  <a:lnTo>
                    <a:pt x="32821" y="234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6"/>
            <p:cNvSpPr>
              <a:spLocks noChangeAspect="1"/>
            </p:cNvSpPr>
            <p:nvPr/>
          </p:nvSpPr>
          <p:spPr bwMode="auto">
            <a:xfrm>
              <a:off x="2498725" y="141288"/>
              <a:ext cx="546100" cy="534988"/>
            </a:xfrm>
            <a:custGeom>
              <a:avLst/>
              <a:gdLst>
                <a:gd name="T0" fmla="*/ 209 w 344"/>
                <a:gd name="T1" fmla="*/ 0 h 337"/>
                <a:gd name="T2" fmla="*/ 0 w 344"/>
                <a:gd name="T3" fmla="*/ 0 h 337"/>
                <a:gd name="T4" fmla="*/ 0 w 344"/>
                <a:gd name="T5" fmla="*/ 337 h 337"/>
                <a:gd name="T6" fmla="*/ 344 w 344"/>
                <a:gd name="T7" fmla="*/ 337 h 337"/>
                <a:gd name="T8" fmla="*/ 344 w 344"/>
                <a:gd name="T9" fmla="*/ 133 h 337"/>
                <a:gd name="T10" fmla="*/ 209 w 344"/>
                <a:gd name="T11" fmla="*/ 133 h 337"/>
                <a:gd name="T12" fmla="*/ 209 w 344"/>
                <a:gd name="T13" fmla="*/ 0 h 337"/>
                <a:gd name="T14" fmla="*/ 209 w 344"/>
                <a:gd name="T15" fmla="*/ 0 h 3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4" h="337">
                  <a:moveTo>
                    <a:pt x="209" y="0"/>
                  </a:moveTo>
                  <a:lnTo>
                    <a:pt x="0" y="0"/>
                  </a:lnTo>
                  <a:lnTo>
                    <a:pt x="0" y="337"/>
                  </a:lnTo>
                  <a:lnTo>
                    <a:pt x="344" y="337"/>
                  </a:lnTo>
                  <a:lnTo>
                    <a:pt x="344" y="133"/>
                  </a:lnTo>
                  <a:lnTo>
                    <a:pt x="209" y="133"/>
                  </a:lnTo>
                  <a:lnTo>
                    <a:pt x="209" y="0"/>
                  </a:lnTo>
                  <a:lnTo>
                    <a:pt x="209" y="0"/>
                  </a:lnTo>
                  <a:close/>
                </a:path>
              </a:pathLst>
            </a:custGeom>
            <a:solidFill>
              <a:srgbClr val="F899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7"/>
            <p:cNvSpPr>
              <a:spLocks noChangeAspect="1"/>
            </p:cNvSpPr>
            <p:nvPr/>
          </p:nvSpPr>
          <p:spPr bwMode="auto">
            <a:xfrm>
              <a:off x="2830513" y="0"/>
              <a:ext cx="350838" cy="352425"/>
            </a:xfrm>
            <a:custGeom>
              <a:avLst/>
              <a:gdLst>
                <a:gd name="T0" fmla="*/ 221 w 221"/>
                <a:gd name="T1" fmla="*/ 0 h 222"/>
                <a:gd name="T2" fmla="*/ 0 w 221"/>
                <a:gd name="T3" fmla="*/ 0 h 222"/>
                <a:gd name="T4" fmla="*/ 0 w 221"/>
                <a:gd name="T5" fmla="*/ 89 h 222"/>
                <a:gd name="T6" fmla="*/ 135 w 221"/>
                <a:gd name="T7" fmla="*/ 89 h 222"/>
                <a:gd name="T8" fmla="*/ 135 w 221"/>
                <a:gd name="T9" fmla="*/ 222 h 222"/>
                <a:gd name="T10" fmla="*/ 221 w 221"/>
                <a:gd name="T11" fmla="*/ 222 h 222"/>
                <a:gd name="T12" fmla="*/ 221 w 221"/>
                <a:gd name="T13" fmla="*/ 0 h 222"/>
                <a:gd name="T14" fmla="*/ 221 w 221"/>
                <a:gd name="T15" fmla="*/ 0 h 2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1" h="222">
                  <a:moveTo>
                    <a:pt x="221" y="0"/>
                  </a:moveTo>
                  <a:lnTo>
                    <a:pt x="0" y="0"/>
                  </a:lnTo>
                  <a:lnTo>
                    <a:pt x="0" y="89"/>
                  </a:lnTo>
                  <a:lnTo>
                    <a:pt x="135" y="89"/>
                  </a:lnTo>
                  <a:lnTo>
                    <a:pt x="135" y="222"/>
                  </a:lnTo>
                  <a:lnTo>
                    <a:pt x="221" y="222"/>
                  </a:lnTo>
                  <a:lnTo>
                    <a:pt x="221" y="0"/>
                  </a:lnTo>
                  <a:lnTo>
                    <a:pt x="221" y="0"/>
                  </a:lnTo>
                  <a:close/>
                </a:path>
              </a:pathLst>
            </a:custGeom>
            <a:solidFill>
              <a:srgbClr val="F168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5" name="Rectangle 24"/>
          <p:cNvSpPr/>
          <p:nvPr userDrawn="1"/>
        </p:nvSpPr>
        <p:spPr>
          <a:xfrm>
            <a:off x="0" y="5092700"/>
            <a:ext cx="9144000" cy="6179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36629861"/>
      </p:ext>
    </p:extLst>
  </p:cSld>
  <p:clrMap bg1="lt1" tx1="dk1" bg2="lt2" tx2="dk2" accent1="accent1" accent2="accent2" accent3="accent3" accent4="accent4" accent5="accent5" accent6="accent6" hlink="hlink" folHlink="folHlink"/>
  <p:sldLayoutIdLst>
    <p:sldLayoutId id="2147484008" r:id="rId1"/>
    <p:sldLayoutId id="2147483870" r:id="rId2"/>
    <p:sldLayoutId id="2147483871" r:id="rId3"/>
    <p:sldLayoutId id="2147484009" r:id="rId4"/>
    <p:sldLayoutId id="2147483873" r:id="rId5"/>
    <p:sldLayoutId id="2147483874" r:id="rId6"/>
    <p:sldLayoutId id="2147483875" r:id="rId7"/>
    <p:sldLayoutId id="2147483876" r:id="rId8"/>
    <p:sldLayoutId id="2147483877" r:id="rId9"/>
    <p:sldLayoutId id="2147483878" r:id="rId10"/>
    <p:sldLayoutId id="2147483879" r:id="rId11"/>
    <p:sldLayoutId id="2147483880" r:id="rId12"/>
    <p:sldLayoutId id="2147483882" r:id="rId13"/>
    <p:sldLayoutId id="2147484041" r:id="rId14"/>
    <p:sldLayoutId id="2147484042"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3708" rtl="0" eaLnBrk="1" latinLnBrk="0" hangingPunct="1">
        <a:lnSpc>
          <a:spcPct val="80000"/>
        </a:lnSpc>
        <a:spcBef>
          <a:spcPct val="0"/>
        </a:spcBef>
        <a:buNone/>
        <a:defRPr sz="2800" b="1" kern="1200" cap="none" baseline="0">
          <a:solidFill>
            <a:schemeClr val="tx2"/>
          </a:solidFill>
          <a:latin typeface="+mj-lt"/>
          <a:ea typeface="+mj-ea"/>
          <a:cs typeface="+mj-cs"/>
        </a:defRPr>
      </a:lvl1pPr>
    </p:titleStyle>
    <p:bodyStyle>
      <a:lvl1pPr marL="274320" indent="-274320" algn="l" defTabSz="913708" rtl="0" eaLnBrk="1" latinLnBrk="0" hangingPunct="1">
        <a:spcBef>
          <a:spcPct val="20000"/>
        </a:spcBef>
        <a:buClr>
          <a:schemeClr val="accent1"/>
        </a:buClr>
        <a:buSzPct val="80000"/>
        <a:buFont typeface="Wingdings 3" panose="05040102010807070707" pitchFamily="18" charset="2"/>
        <a:buChar char=""/>
        <a:defRPr lang="en-US" sz="2100" b="0" kern="1200" dirty="0" smtClean="0">
          <a:solidFill>
            <a:schemeClr val="tx1"/>
          </a:solidFill>
          <a:latin typeface="+mn-lt"/>
          <a:ea typeface="+mn-ea"/>
          <a:cs typeface="+mn-cs"/>
        </a:defRPr>
      </a:lvl1pPr>
      <a:lvl2pPr marL="574675" indent="-228600" algn="l" defTabSz="913708" rtl="0" eaLnBrk="1" latinLnBrk="0" hangingPunct="1">
        <a:spcBef>
          <a:spcPct val="20000"/>
        </a:spcBef>
        <a:buClrTx/>
        <a:buFont typeface="Wingdings" panose="05000000000000000000" pitchFamily="2" charset="2"/>
        <a:buChar char="§"/>
        <a:defRPr lang="en-US" sz="1800" b="0" kern="1200" dirty="0" smtClean="0">
          <a:solidFill>
            <a:schemeClr val="tx1"/>
          </a:solidFill>
          <a:latin typeface="+mn-lt"/>
          <a:ea typeface="+mn-ea"/>
          <a:cs typeface="+mn-cs"/>
        </a:defRPr>
      </a:lvl2pPr>
      <a:lvl3pPr marL="766763" indent="-176213" algn="l" defTabSz="913708" rtl="0" eaLnBrk="1" latinLnBrk="0" hangingPunct="1">
        <a:spcBef>
          <a:spcPct val="20000"/>
        </a:spcBef>
        <a:buClrTx/>
        <a:buFont typeface="Wingdings" panose="05000000000000000000" pitchFamily="2" charset="2"/>
        <a:buChar char="§"/>
        <a:defRPr lang="en-US" sz="1500" b="0" kern="1200" dirty="0" smtClean="0">
          <a:solidFill>
            <a:schemeClr val="tx1"/>
          </a:solidFill>
          <a:latin typeface="+mn-lt"/>
          <a:ea typeface="+mn-ea"/>
          <a:cs typeface="+mn-cs"/>
        </a:defRPr>
      </a:lvl3pPr>
      <a:lvl4pPr marL="973138" indent="-153988" algn="l" defTabSz="913708" rtl="0" eaLnBrk="1" latinLnBrk="0" hangingPunct="1">
        <a:spcBef>
          <a:spcPct val="20000"/>
        </a:spcBef>
        <a:buClrTx/>
        <a:buFont typeface="Wingdings" panose="05000000000000000000" pitchFamily="2" charset="2"/>
        <a:buChar char="§"/>
        <a:defRPr lang="en-US" sz="1350" b="0" kern="1200" dirty="0" smtClean="0">
          <a:solidFill>
            <a:schemeClr val="tx1"/>
          </a:solidFill>
          <a:latin typeface="+mn-lt"/>
          <a:ea typeface="+mn-ea"/>
          <a:cs typeface="+mn-cs"/>
        </a:defRPr>
      </a:lvl4pPr>
      <a:lvl5pPr marL="1143000" indent="-125413" algn="l" defTabSz="913708" rtl="0" eaLnBrk="1" latinLnBrk="0" hangingPunct="1">
        <a:spcBef>
          <a:spcPct val="20000"/>
        </a:spcBef>
        <a:buClrTx/>
        <a:buFont typeface="Wingdings" panose="05000000000000000000" pitchFamily="2" charset="2"/>
        <a:buChar char="§"/>
        <a:defRPr lang="en-US" sz="1350" b="0" kern="1200" dirty="0">
          <a:solidFill>
            <a:schemeClr val="tx1"/>
          </a:solidFill>
          <a:latin typeface="+mn-lt"/>
          <a:ea typeface="+mn-ea"/>
          <a:cs typeface="+mn-cs"/>
        </a:defRPr>
      </a:lvl5pPr>
      <a:lvl6pPr marL="2512691" indent="-228434" algn="l" defTabSz="913708" rtl="0" eaLnBrk="1" latinLnBrk="0" hangingPunct="1">
        <a:spcBef>
          <a:spcPct val="20000"/>
        </a:spcBef>
        <a:buFont typeface="+mj-lt"/>
        <a:buChar char="•"/>
        <a:defRPr sz="2025" kern="1200">
          <a:solidFill>
            <a:schemeClr val="tx1"/>
          </a:solidFill>
          <a:latin typeface="+mn-lt"/>
          <a:ea typeface="+mn-ea"/>
          <a:cs typeface="+mn-cs"/>
        </a:defRPr>
      </a:lvl6pPr>
      <a:lvl7pPr marL="2969546" indent="-228434" algn="l" defTabSz="913708" rtl="0" eaLnBrk="1" latinLnBrk="0" hangingPunct="1">
        <a:spcBef>
          <a:spcPct val="20000"/>
        </a:spcBef>
        <a:buFont typeface="+mj-lt"/>
        <a:buChar char="•"/>
        <a:defRPr sz="2025" kern="1200">
          <a:solidFill>
            <a:schemeClr val="tx1"/>
          </a:solidFill>
          <a:latin typeface="+mn-lt"/>
          <a:ea typeface="+mn-ea"/>
          <a:cs typeface="+mn-cs"/>
        </a:defRPr>
      </a:lvl7pPr>
      <a:lvl8pPr marL="3426398" indent="-228434" algn="l" defTabSz="913708" rtl="0" eaLnBrk="1" latinLnBrk="0" hangingPunct="1">
        <a:spcBef>
          <a:spcPct val="20000"/>
        </a:spcBef>
        <a:buFont typeface="+mj-lt"/>
        <a:buChar char="•"/>
        <a:defRPr sz="2025" kern="1200">
          <a:solidFill>
            <a:schemeClr val="tx1"/>
          </a:solidFill>
          <a:latin typeface="+mn-lt"/>
          <a:ea typeface="+mn-ea"/>
          <a:cs typeface="+mn-cs"/>
        </a:defRPr>
      </a:lvl8pPr>
      <a:lvl9pPr marL="3883253" indent="-228434" algn="l" defTabSz="913708" rtl="0" eaLnBrk="1" latinLnBrk="0" hangingPunct="1">
        <a:spcBef>
          <a:spcPct val="20000"/>
        </a:spcBef>
        <a:buFont typeface="+mj-lt"/>
        <a:buChar char="•"/>
        <a:defRPr sz="2025" kern="1200">
          <a:solidFill>
            <a:schemeClr val="tx1"/>
          </a:solidFill>
          <a:latin typeface="+mn-lt"/>
          <a:ea typeface="+mn-ea"/>
          <a:cs typeface="+mn-cs"/>
        </a:defRPr>
      </a:lvl9pPr>
    </p:bodyStyle>
    <p:otherStyle>
      <a:defPPr>
        <a:defRPr lang="en-US"/>
      </a:defPPr>
      <a:lvl1pPr marL="0" algn="l" defTabSz="913708" rtl="0" eaLnBrk="1" latinLnBrk="0" hangingPunct="1">
        <a:defRPr sz="1800" kern="1200">
          <a:solidFill>
            <a:schemeClr val="tx1"/>
          </a:solidFill>
          <a:latin typeface="+mn-lt"/>
          <a:ea typeface="+mn-ea"/>
          <a:cs typeface="+mn-cs"/>
        </a:defRPr>
      </a:lvl1pPr>
      <a:lvl2pPr marL="456854" algn="l" defTabSz="913708" rtl="0" eaLnBrk="1" latinLnBrk="0" hangingPunct="1">
        <a:defRPr sz="1800" kern="1200">
          <a:solidFill>
            <a:schemeClr val="tx1"/>
          </a:solidFill>
          <a:latin typeface="+mn-lt"/>
          <a:ea typeface="+mn-ea"/>
          <a:cs typeface="+mn-cs"/>
        </a:defRPr>
      </a:lvl2pPr>
      <a:lvl3pPr marL="913708" algn="l" defTabSz="913708" rtl="0" eaLnBrk="1" latinLnBrk="0" hangingPunct="1">
        <a:defRPr sz="1800" kern="1200">
          <a:solidFill>
            <a:schemeClr val="tx1"/>
          </a:solidFill>
          <a:latin typeface="+mn-lt"/>
          <a:ea typeface="+mn-ea"/>
          <a:cs typeface="+mn-cs"/>
        </a:defRPr>
      </a:lvl3pPr>
      <a:lvl4pPr marL="1370562" algn="l" defTabSz="913708" rtl="0" eaLnBrk="1" latinLnBrk="0" hangingPunct="1">
        <a:defRPr sz="1800" kern="1200">
          <a:solidFill>
            <a:schemeClr val="tx1"/>
          </a:solidFill>
          <a:latin typeface="+mn-lt"/>
          <a:ea typeface="+mn-ea"/>
          <a:cs typeface="+mn-cs"/>
        </a:defRPr>
      </a:lvl4pPr>
      <a:lvl5pPr marL="1827413" algn="l" defTabSz="913708" rtl="0" eaLnBrk="1" latinLnBrk="0" hangingPunct="1">
        <a:defRPr sz="1800" kern="1200">
          <a:solidFill>
            <a:schemeClr val="tx1"/>
          </a:solidFill>
          <a:latin typeface="+mn-lt"/>
          <a:ea typeface="+mn-ea"/>
          <a:cs typeface="+mn-cs"/>
        </a:defRPr>
      </a:lvl5pPr>
      <a:lvl6pPr marL="2284262" algn="l" defTabSz="913708" rtl="0" eaLnBrk="1" latinLnBrk="0" hangingPunct="1">
        <a:defRPr sz="1800" kern="1200">
          <a:solidFill>
            <a:schemeClr val="tx1"/>
          </a:solidFill>
          <a:latin typeface="+mn-lt"/>
          <a:ea typeface="+mn-ea"/>
          <a:cs typeface="+mn-cs"/>
        </a:defRPr>
      </a:lvl6pPr>
      <a:lvl7pPr marL="2741123" algn="l" defTabSz="913708" rtl="0" eaLnBrk="1" latinLnBrk="0" hangingPunct="1">
        <a:defRPr sz="1800" kern="1200">
          <a:solidFill>
            <a:schemeClr val="tx1"/>
          </a:solidFill>
          <a:latin typeface="+mn-lt"/>
          <a:ea typeface="+mn-ea"/>
          <a:cs typeface="+mn-cs"/>
        </a:defRPr>
      </a:lvl7pPr>
      <a:lvl8pPr marL="3197972" algn="l" defTabSz="913708" rtl="0" eaLnBrk="1" latinLnBrk="0" hangingPunct="1">
        <a:defRPr sz="1800" kern="1200">
          <a:solidFill>
            <a:schemeClr val="tx1"/>
          </a:solidFill>
          <a:latin typeface="+mn-lt"/>
          <a:ea typeface="+mn-ea"/>
          <a:cs typeface="+mn-cs"/>
        </a:defRPr>
      </a:lvl8pPr>
      <a:lvl9pPr marL="3654822" algn="l" defTabSz="91370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916" userDrawn="1">
          <p15:clr>
            <a:srgbClr val="F26B43"/>
          </p15:clr>
        </p15:guide>
        <p15:guide id="2" pos="288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50" name="Freeform 26"/>
          <p:cNvSpPr>
            <a:spLocks noChangeAspect="1"/>
          </p:cNvSpPr>
          <p:nvPr/>
        </p:nvSpPr>
        <p:spPr bwMode="gray">
          <a:xfrm>
            <a:off x="2" y="0"/>
            <a:ext cx="9140825" cy="628456"/>
          </a:xfrm>
          <a:custGeom>
            <a:avLst/>
            <a:gdLst/>
            <a:ahLst/>
            <a:cxnLst>
              <a:cxn ang="0">
                <a:pos x="0" y="0"/>
              </a:cxn>
              <a:cxn ang="0">
                <a:pos x="0" y="396"/>
              </a:cxn>
              <a:cxn ang="0">
                <a:pos x="5644" y="396"/>
              </a:cxn>
              <a:cxn ang="0">
                <a:pos x="5757" y="0"/>
              </a:cxn>
              <a:cxn ang="0">
                <a:pos x="0" y="0"/>
              </a:cxn>
            </a:cxnLst>
            <a:rect l="0" t="0" r="r" b="b"/>
            <a:pathLst>
              <a:path w="5757" h="396">
                <a:moveTo>
                  <a:pt x="0" y="0"/>
                </a:moveTo>
                <a:lnTo>
                  <a:pt x="0" y="396"/>
                </a:lnTo>
                <a:lnTo>
                  <a:pt x="5644" y="396"/>
                </a:lnTo>
                <a:lnTo>
                  <a:pt x="5757" y="0"/>
                </a:lnTo>
                <a:lnTo>
                  <a:pt x="0" y="0"/>
                </a:lnTo>
                <a:close/>
              </a:path>
            </a:pathLst>
          </a:custGeom>
          <a:gradFill rotWithShape="1">
            <a:gsLst>
              <a:gs pos="0">
                <a:srgbClr val="00257A">
                  <a:alpha val="89999"/>
                </a:srgbClr>
              </a:gs>
              <a:gs pos="35001">
                <a:srgbClr val="00338D">
                  <a:alpha val="89999"/>
                </a:srgbClr>
              </a:gs>
              <a:gs pos="100000">
                <a:srgbClr val="009FDA">
                  <a:alpha val="89999"/>
                </a:srgbClr>
              </a:gs>
            </a:gsLst>
            <a:lin ang="0" scaled="1"/>
          </a:gradFill>
          <a:ln w="9525" cap="flat" cmpd="sng">
            <a:noFill/>
            <a:prstDash val="solid"/>
            <a:round/>
            <a:headEnd type="none" w="med" len="med"/>
            <a:tailEnd type="none" w="med" len="med"/>
          </a:ln>
          <a:effectLst/>
        </p:spPr>
        <p:txBody>
          <a:bodyPr lIns="68579" tIns="34289" rIns="68579" bIns="34289">
            <a:noAutofit/>
          </a:bodyPr>
          <a:lstStyle/>
          <a:p>
            <a:pPr algn="ctr" defTabSz="685783"/>
            <a:endParaRPr lang="en-GB">
              <a:solidFill>
                <a:srgbClr val="000000"/>
              </a:solidFill>
              <a:cs typeface="Arial" charset="0"/>
            </a:endParaRPr>
          </a:p>
        </p:txBody>
      </p:sp>
      <p:sp>
        <p:nvSpPr>
          <p:cNvPr id="1026" name="Text Placeholder 50"/>
          <p:cNvSpPr>
            <a:spLocks noGrp="1"/>
          </p:cNvSpPr>
          <p:nvPr>
            <p:ph type="body" idx="1"/>
          </p:nvPr>
        </p:nvSpPr>
        <p:spPr bwMode="gray">
          <a:xfrm>
            <a:off x="251521" y="843558"/>
            <a:ext cx="8712968" cy="3672408"/>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4" name="Line 10"/>
          <p:cNvSpPr>
            <a:spLocks noChangeShapeType="1"/>
          </p:cNvSpPr>
          <p:nvPr/>
        </p:nvSpPr>
        <p:spPr bwMode="gray">
          <a:xfrm>
            <a:off x="250825" y="4731990"/>
            <a:ext cx="8713788" cy="0"/>
          </a:xfrm>
          <a:prstGeom prst="line">
            <a:avLst/>
          </a:prstGeom>
          <a:noFill/>
          <a:ln w="3175">
            <a:solidFill>
              <a:srgbClr val="97989A"/>
            </a:solidFill>
            <a:round/>
            <a:headEnd/>
            <a:tailEnd/>
          </a:ln>
        </p:spPr>
        <p:txBody>
          <a:bodyPr lIns="68579" tIns="34289" rIns="68579" bIns="34289">
            <a:noAutofit/>
          </a:bodyPr>
          <a:lstStyle/>
          <a:p>
            <a:pPr defTabSz="685783" fontAlgn="auto">
              <a:spcBef>
                <a:spcPts val="0"/>
              </a:spcBef>
              <a:spcAft>
                <a:spcPts val="0"/>
              </a:spcAft>
              <a:defRPr/>
            </a:pPr>
            <a:endParaRPr lang="en-GB" dirty="0">
              <a:solidFill>
                <a:srgbClr val="000000"/>
              </a:solidFill>
              <a:cs typeface="Arial" charset="0"/>
            </a:endParaRPr>
          </a:p>
        </p:txBody>
      </p:sp>
      <p:sp>
        <p:nvSpPr>
          <p:cNvPr id="35" name="Text Box 8"/>
          <p:cNvSpPr txBox="1">
            <a:spLocks noChangeArrowheads="1"/>
          </p:cNvSpPr>
          <p:nvPr/>
        </p:nvSpPr>
        <p:spPr bwMode="gray">
          <a:xfrm>
            <a:off x="250824" y="4731989"/>
            <a:ext cx="5311776" cy="365760"/>
          </a:xfrm>
          <a:prstGeom prst="rect">
            <a:avLst/>
          </a:prstGeom>
          <a:noFill/>
          <a:ln w="9525">
            <a:noFill/>
            <a:miter lim="800000"/>
            <a:headEnd/>
            <a:tailEnd/>
          </a:ln>
          <a:effectLst/>
        </p:spPr>
        <p:txBody>
          <a:bodyPr lIns="0" tIns="71999" rIns="0" bIns="0">
            <a:noAutofit/>
          </a:bodyPr>
          <a:lstStyle/>
          <a:p>
            <a:pPr defTabSz="685783">
              <a:spcBef>
                <a:spcPts val="300"/>
              </a:spcBef>
            </a:pPr>
            <a:r>
              <a:rPr lang="en-US" sz="700" dirty="0">
                <a:solidFill>
                  <a:srgbClr val="00338D"/>
                </a:solidFill>
                <a:cs typeface="Arial" charset="0"/>
              </a:rPr>
              <a:t>© 2015 KPMG LLP, a Delaware limited liability partnership and the U.S. member firm of the KPMG network of independent member firms affiliated with KPMG International Cooperative (“KPMG International”), a Swiss entity. All rights reserved.</a:t>
            </a:r>
          </a:p>
        </p:txBody>
      </p:sp>
      <p:sp>
        <p:nvSpPr>
          <p:cNvPr id="36" name="Rectangle 35"/>
          <p:cNvSpPr/>
          <p:nvPr/>
        </p:nvSpPr>
        <p:spPr bwMode="gray">
          <a:xfrm>
            <a:off x="8460434" y="4731990"/>
            <a:ext cx="504825" cy="211072"/>
          </a:xfrm>
          <a:prstGeom prst="rect">
            <a:avLst/>
          </a:prstGeom>
          <a:ln>
            <a:miter lim="800000"/>
            <a:headEnd/>
            <a:tailEnd/>
          </a:ln>
        </p:spPr>
        <p:txBody>
          <a:bodyPr lIns="71999" tIns="71999" rIns="0" bIns="0">
            <a:noAutofit/>
          </a:bodyPr>
          <a:lstStyle/>
          <a:p>
            <a:pPr algn="r" defTabSz="685783">
              <a:spcBef>
                <a:spcPct val="40000"/>
              </a:spcBef>
              <a:defRPr/>
            </a:pPr>
            <a:fld id="{5A1B6C77-59DC-4A9E-8ED4-DDE536BD0F14}" type="slidenum">
              <a:rPr lang="en-GB" sz="800">
                <a:solidFill>
                  <a:srgbClr val="00338D"/>
                </a:solidFill>
                <a:cs typeface="Arial" charset="0"/>
              </a:rPr>
              <a:pPr algn="r" defTabSz="685783">
                <a:spcBef>
                  <a:spcPct val="40000"/>
                </a:spcBef>
                <a:defRPr/>
              </a:pPr>
              <a:t>‹#›</a:t>
            </a:fld>
            <a:endParaRPr lang="en-GB" sz="900" dirty="0">
              <a:solidFill>
                <a:srgbClr val="00338D"/>
              </a:solidFill>
              <a:cs typeface="Arial" charset="0"/>
            </a:endParaRPr>
          </a:p>
        </p:txBody>
      </p:sp>
      <p:sp>
        <p:nvSpPr>
          <p:cNvPr id="1033" name="Title Placeholder 45"/>
          <p:cNvSpPr>
            <a:spLocks noGrp="1"/>
          </p:cNvSpPr>
          <p:nvPr>
            <p:ph type="title"/>
          </p:nvPr>
        </p:nvSpPr>
        <p:spPr bwMode="gray">
          <a:xfrm>
            <a:off x="250825" y="52372"/>
            <a:ext cx="8713788" cy="503082"/>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p>
            <a:pPr lvl="0"/>
            <a:r>
              <a:rPr lang="en-US"/>
              <a:t>Click to edit Master title style</a:t>
            </a:r>
            <a:endParaRPr lang="en-GB" dirty="0"/>
          </a:p>
        </p:txBody>
      </p:sp>
    </p:spTree>
    <p:extLst>
      <p:ext uri="{BB962C8B-B14F-4D97-AF65-F5344CB8AC3E}">
        <p14:creationId xmlns:p14="http://schemas.microsoft.com/office/powerpoint/2010/main" val="3899614461"/>
      </p:ext>
    </p:extLst>
  </p:cSld>
  <p:clrMap bg1="lt1" tx1="dk1" bg2="lt2" tx2="dk2" accent1="accent1" accent2="accent2" accent3="accent3" accent4="accent4" accent5="accent5" accent6="accent6" hlink="hlink" folHlink="folHlink"/>
  <p:sldLayoutIdLst>
    <p:sldLayoutId id="2147484011" r:id="rId1"/>
    <p:sldLayoutId id="2147484012" r:id="rId2"/>
    <p:sldLayoutId id="2147484013" r:id="rId3"/>
    <p:sldLayoutId id="2147484014" r:id="rId4"/>
    <p:sldLayoutId id="2147484015" r:id="rId5"/>
    <p:sldLayoutId id="2147484016" r:id="rId6"/>
    <p:sldLayoutId id="2147484017" r:id="rId7"/>
    <p:sldLayoutId id="2147484018" r:id="rId8"/>
    <p:sldLayoutId id="2147484019" r:id="rId9"/>
    <p:sldLayoutId id="2147484020" r:id="rId10"/>
    <p:sldLayoutId id="2147484021" r:id="rId11"/>
    <p:sldLayoutId id="2147484022" r:id="rId12"/>
    <p:sldLayoutId id="2147484023" r:id="rId13"/>
    <p:sldLayoutId id="2147484024" r:id="rId14"/>
    <p:sldLayoutId id="2147484025" r:id="rId15"/>
    <p:sldLayoutId id="2147484026" r:id="rId16"/>
    <p:sldLayoutId id="2147484027" r:id="rId17"/>
    <p:sldLayoutId id="2147484028" r:id="rId18"/>
    <p:sldLayoutId id="2147484029" r:id="rId19"/>
    <p:sldLayoutId id="2147484030" r:id="rId20"/>
    <p:sldLayoutId id="2147484031" r:id="rId21"/>
    <p:sldLayoutId id="2147484032" r:id="rId22"/>
    <p:sldLayoutId id="2147484033" r:id="rId23"/>
    <p:sldLayoutId id="2147484034" r:id="rId24"/>
    <p:sldLayoutId id="2147484035" r:id="rId25"/>
    <p:sldLayoutId id="2147484036" r:id="rId26"/>
    <p:sldLayoutId id="2147484037" r:id="rId27"/>
  </p:sldLayoutIdLst>
  <p:txStyles>
    <p:titleStyle>
      <a:lvl1pPr algn="l" rtl="0" eaLnBrk="1" fontAlgn="base" hangingPunct="1">
        <a:spcBef>
          <a:spcPct val="0"/>
        </a:spcBef>
        <a:spcAft>
          <a:spcPct val="0"/>
        </a:spcAft>
        <a:defRPr lang="en-GB" sz="2000" b="1" kern="1200" dirty="0">
          <a:solidFill>
            <a:schemeClr val="bg1"/>
          </a:solidFill>
          <a:latin typeface="Arial"/>
          <a:ea typeface="+mj-ea"/>
          <a:cs typeface="Arial" pitchFamily="34" charset="0"/>
        </a:defRPr>
      </a:lvl1pPr>
      <a:lvl2pPr algn="l" rtl="0" eaLnBrk="1" fontAlgn="base" hangingPunct="1">
        <a:spcBef>
          <a:spcPct val="0"/>
        </a:spcBef>
        <a:spcAft>
          <a:spcPct val="0"/>
        </a:spcAft>
        <a:defRPr lang="en-GB" sz="1600" b="1" kern="1200" dirty="0">
          <a:solidFill>
            <a:schemeClr val="bg1"/>
          </a:solidFill>
          <a:latin typeface="Arial" pitchFamily="34" charset="0"/>
          <a:ea typeface="+mj-ea"/>
          <a:cs typeface="Arial" pitchFamily="34" charset="0"/>
        </a:defRPr>
      </a:lvl2pPr>
      <a:lvl3pPr algn="l" rtl="0" eaLnBrk="1" fontAlgn="base" hangingPunct="1">
        <a:spcBef>
          <a:spcPct val="0"/>
        </a:spcBef>
        <a:spcAft>
          <a:spcPct val="0"/>
        </a:spcAft>
        <a:defRPr lang="en-GB" sz="1600" b="1" kern="1200" dirty="0">
          <a:solidFill>
            <a:schemeClr val="bg1"/>
          </a:solidFill>
          <a:latin typeface="Arial" pitchFamily="34" charset="0"/>
          <a:ea typeface="+mj-ea"/>
          <a:cs typeface="Arial" pitchFamily="34" charset="0"/>
        </a:defRPr>
      </a:lvl3pPr>
      <a:lvl4pPr algn="l" rtl="0" eaLnBrk="1" fontAlgn="base" hangingPunct="1">
        <a:spcBef>
          <a:spcPct val="0"/>
        </a:spcBef>
        <a:spcAft>
          <a:spcPct val="0"/>
        </a:spcAft>
        <a:defRPr lang="en-GB" sz="1600" b="1" kern="1200" dirty="0">
          <a:solidFill>
            <a:schemeClr val="bg1"/>
          </a:solidFill>
          <a:latin typeface="Arial" pitchFamily="34" charset="0"/>
          <a:ea typeface="+mj-ea"/>
          <a:cs typeface="Arial" pitchFamily="34" charset="0"/>
        </a:defRPr>
      </a:lvl4pPr>
      <a:lvl5pPr algn="l" rtl="0" eaLnBrk="1" fontAlgn="base" hangingPunct="1">
        <a:spcBef>
          <a:spcPct val="0"/>
        </a:spcBef>
        <a:spcAft>
          <a:spcPct val="0"/>
        </a:spcAft>
        <a:defRPr lang="en-GB" sz="1600" b="1" kern="1200" dirty="0">
          <a:solidFill>
            <a:schemeClr val="bg1"/>
          </a:solidFill>
          <a:latin typeface="Arial" pitchFamily="34" charset="0"/>
          <a:ea typeface="+mj-ea"/>
          <a:cs typeface="Arial" pitchFamily="34" charset="0"/>
        </a:defRPr>
      </a:lvl5pPr>
      <a:lvl6pPr eaLnBrk="1" hangingPunct="1">
        <a:defRPr lang="en-GB" sz="1800" b="1" kern="1200" noProof="0" dirty="0">
          <a:solidFill>
            <a:schemeClr val="bg1"/>
          </a:solidFill>
          <a:latin typeface="Arial" pitchFamily="34" charset="0"/>
          <a:ea typeface="+mj-ea"/>
          <a:cs typeface="Arial" pitchFamily="34" charset="0"/>
        </a:defRPr>
      </a:lvl6pPr>
      <a:lvl7pPr eaLnBrk="1" hangingPunct="1">
        <a:defRPr lang="en-GB" sz="1800" b="1" kern="1200" noProof="0" dirty="0">
          <a:solidFill>
            <a:schemeClr val="bg1"/>
          </a:solidFill>
          <a:latin typeface="Arial" pitchFamily="34" charset="0"/>
          <a:ea typeface="+mj-ea"/>
          <a:cs typeface="Arial" pitchFamily="34" charset="0"/>
        </a:defRPr>
      </a:lvl7pPr>
      <a:lvl8pPr eaLnBrk="1" hangingPunct="1">
        <a:defRPr lang="en-GB" sz="1800" b="1" kern="1200" noProof="0" dirty="0">
          <a:solidFill>
            <a:schemeClr val="bg1"/>
          </a:solidFill>
          <a:latin typeface="Arial" pitchFamily="34" charset="0"/>
          <a:ea typeface="+mj-ea"/>
          <a:cs typeface="Arial" pitchFamily="34" charset="0"/>
        </a:defRPr>
      </a:lvl8pPr>
      <a:lvl9pPr eaLnBrk="1" hangingPunct="1">
        <a:defRPr lang="en-GB" sz="1800" b="1" kern="1200" noProof="0" dirty="0">
          <a:solidFill>
            <a:schemeClr val="bg1"/>
          </a:solidFill>
          <a:latin typeface="Arial" pitchFamily="34" charset="0"/>
          <a:ea typeface="+mj-ea"/>
          <a:cs typeface="Arial" pitchFamily="34" charset="0"/>
        </a:defRPr>
      </a:lvl9pPr>
    </p:titleStyle>
    <p:bodyStyle>
      <a:lvl1pPr algn="l" rtl="0" eaLnBrk="1" fontAlgn="base" hangingPunct="1">
        <a:lnSpc>
          <a:spcPct val="100000"/>
        </a:lnSpc>
        <a:spcBef>
          <a:spcPts val="1200"/>
        </a:spcBef>
        <a:spcAft>
          <a:spcPts val="0"/>
        </a:spcAft>
        <a:buFont typeface="Arial" charset="0"/>
        <a:defRPr lang="en-US" sz="1600" b="1" kern="1200" dirty="0">
          <a:solidFill>
            <a:srgbClr val="00338D"/>
          </a:solidFill>
          <a:latin typeface="Arial"/>
          <a:ea typeface="+mn-ea"/>
          <a:cs typeface="Arial" pitchFamily="34" charset="0"/>
        </a:defRPr>
      </a:lvl1pPr>
      <a:lvl2pPr algn="l" rtl="0" eaLnBrk="1" fontAlgn="base" hangingPunct="1">
        <a:lnSpc>
          <a:spcPct val="100000"/>
        </a:lnSpc>
        <a:spcBef>
          <a:spcPts val="1200"/>
        </a:spcBef>
        <a:spcAft>
          <a:spcPts val="0"/>
        </a:spcAft>
        <a:buFont typeface="Arial" charset="0"/>
        <a:defRPr lang="en-US" sz="1600" kern="1200" dirty="0">
          <a:solidFill>
            <a:schemeClr val="tx1"/>
          </a:solidFill>
          <a:latin typeface="Arial"/>
          <a:ea typeface="+mn-ea"/>
          <a:cs typeface="Arial" pitchFamily="34" charset="0"/>
        </a:defRPr>
      </a:lvl2pPr>
      <a:lvl3pPr marL="273038" indent="-273038" algn="l" rtl="0" eaLnBrk="1" fontAlgn="base" hangingPunct="1">
        <a:lnSpc>
          <a:spcPct val="100000"/>
        </a:lnSpc>
        <a:spcBef>
          <a:spcPts val="1200"/>
        </a:spcBef>
        <a:spcAft>
          <a:spcPts val="0"/>
        </a:spcAft>
        <a:buClr>
          <a:srgbClr val="97989A"/>
        </a:buClr>
        <a:buFont typeface="Arial" charset="0"/>
        <a:buChar char="■"/>
        <a:defRPr lang="en-US" sz="1600" kern="1200" dirty="0">
          <a:solidFill>
            <a:schemeClr val="tx1"/>
          </a:solidFill>
          <a:latin typeface="Arial"/>
          <a:ea typeface="+mn-ea"/>
          <a:cs typeface="Arial" pitchFamily="34" charset="0"/>
        </a:defRPr>
      </a:lvl3pPr>
      <a:lvl4pPr marL="536548" indent="-263513" algn="l" rtl="0" eaLnBrk="1" fontAlgn="base" hangingPunct="1">
        <a:lnSpc>
          <a:spcPct val="100000"/>
        </a:lnSpc>
        <a:spcBef>
          <a:spcPts val="1200"/>
        </a:spcBef>
        <a:spcAft>
          <a:spcPts val="0"/>
        </a:spcAft>
        <a:buClr>
          <a:srgbClr val="97989A"/>
        </a:buClr>
        <a:buFont typeface="Arial" charset="0"/>
        <a:buChar char="–"/>
        <a:defRPr lang="en-US" sz="1600" kern="1200" dirty="0">
          <a:solidFill>
            <a:schemeClr val="tx1"/>
          </a:solidFill>
          <a:latin typeface="Arial"/>
          <a:ea typeface="+mn-ea"/>
          <a:cs typeface="Arial" pitchFamily="34" charset="0"/>
        </a:defRPr>
      </a:lvl4pPr>
      <a:lvl5pPr marL="809585" indent="-271451" algn="l" rtl="0" eaLnBrk="1" fontAlgn="base" hangingPunct="1">
        <a:lnSpc>
          <a:spcPct val="100000"/>
        </a:lnSpc>
        <a:spcBef>
          <a:spcPts val="1200"/>
        </a:spcBef>
        <a:spcAft>
          <a:spcPts val="0"/>
        </a:spcAft>
        <a:buClr>
          <a:srgbClr val="97989A"/>
        </a:buClr>
        <a:buFont typeface="Arial" charset="0"/>
        <a:buChar char="■"/>
        <a:defRPr lang="en-GB" sz="1600" kern="1200" dirty="0">
          <a:solidFill>
            <a:schemeClr val="tx1"/>
          </a:solidFill>
          <a:latin typeface="Arial"/>
          <a:ea typeface="+mn-ea"/>
          <a:cs typeface="Arial" pitchFamily="34" charset="0"/>
        </a:defRPr>
      </a:lvl5pPr>
      <a:lvl6pPr marL="1082621" indent="-273038" algn="l" defTabSz="893719" rtl="0" eaLnBrk="1" latinLnBrk="0" hangingPunct="1">
        <a:lnSpc>
          <a:spcPct val="100000"/>
        </a:lnSpc>
        <a:spcBef>
          <a:spcPts val="1200"/>
        </a:spcBef>
        <a:spcAft>
          <a:spcPts val="0"/>
        </a:spcAft>
        <a:buClr>
          <a:srgbClr val="97989A"/>
        </a:buClr>
        <a:buFont typeface="Arial" pitchFamily="34" charset="0"/>
        <a:buChar char="–"/>
        <a:defRPr lang="en-GB" sz="1600" kern="1200" dirty="0" smtClean="0">
          <a:solidFill>
            <a:schemeClr val="tx1"/>
          </a:solidFill>
          <a:latin typeface="Arial"/>
          <a:ea typeface="+mn-ea"/>
          <a:cs typeface="Arial" pitchFamily="34" charset="0"/>
        </a:defRPr>
      </a:lvl6pPr>
      <a:lvl7pPr marL="1344547" indent="-266687" algn="l" defTabSz="914355" rtl="0" eaLnBrk="1" latinLnBrk="0" hangingPunct="1">
        <a:lnSpc>
          <a:spcPct val="100000"/>
        </a:lnSpc>
        <a:spcBef>
          <a:spcPts val="1200"/>
        </a:spcBef>
        <a:spcAft>
          <a:spcPts val="0"/>
        </a:spcAft>
        <a:buClr>
          <a:srgbClr val="97989A"/>
        </a:buClr>
        <a:buFont typeface="Arial" pitchFamily="34" charset="0"/>
        <a:buChar char="■"/>
        <a:defRPr lang="en-GB" sz="1600" kern="1200" baseline="0" dirty="0" smtClean="0">
          <a:solidFill>
            <a:schemeClr val="tx1"/>
          </a:solidFill>
          <a:latin typeface="Arial"/>
          <a:ea typeface="+mn-ea"/>
          <a:cs typeface="Arial" pitchFamily="34" charset="0"/>
        </a:defRPr>
      </a:lvl7pPr>
      <a:lvl8pPr marL="1619170" indent="-274625" algn="l" defTabSz="914355" rtl="0" eaLnBrk="1" latinLnBrk="0" hangingPunct="1">
        <a:lnSpc>
          <a:spcPct val="100000"/>
        </a:lnSpc>
        <a:spcBef>
          <a:spcPts val="1200"/>
        </a:spcBef>
        <a:spcAft>
          <a:spcPts val="0"/>
        </a:spcAft>
        <a:buClr>
          <a:srgbClr val="97989A"/>
        </a:buClr>
        <a:buFont typeface="Arial" pitchFamily="34" charset="0"/>
        <a:buChar char="–"/>
        <a:defRPr lang="en-GB" sz="1600" kern="1200" dirty="0" smtClean="0">
          <a:solidFill>
            <a:schemeClr val="tx1"/>
          </a:solidFill>
          <a:latin typeface="Arial"/>
          <a:ea typeface="+mn-ea"/>
          <a:cs typeface="+mn-cs"/>
        </a:defRPr>
      </a:lvl8pPr>
      <a:lvl9pPr marL="1876331" indent="-257162" algn="l" defTabSz="914355" rtl="0" eaLnBrk="1" latinLnBrk="0" hangingPunct="1">
        <a:lnSpc>
          <a:spcPct val="100000"/>
        </a:lnSpc>
        <a:spcBef>
          <a:spcPts val="1200"/>
        </a:spcBef>
        <a:spcAft>
          <a:spcPts val="0"/>
        </a:spcAft>
        <a:buClr>
          <a:srgbClr val="97989A"/>
        </a:buClr>
        <a:buFont typeface="Arial" pitchFamily="34" charset="0"/>
        <a:buChar char="■"/>
        <a:defRPr lang="en-GB" sz="1600" kern="1200" dirty="0" smtClean="0">
          <a:solidFill>
            <a:schemeClr val="tx1"/>
          </a:solidFill>
          <a:latin typeface="Arial"/>
          <a:ea typeface="+mn-ea"/>
          <a:cs typeface="Arial" pitchFamily="34" charset="0"/>
        </a:defRPr>
      </a:lvl9pPr>
    </p:bodyStyle>
    <p:otherStyle>
      <a:defPPr>
        <a:defRPr lang="en-US"/>
      </a:defPPr>
      <a:lvl1pPr marL="0" algn="l" defTabSz="914355" rtl="0" eaLnBrk="1" latinLnBrk="0" hangingPunct="1">
        <a:defRPr sz="1800" kern="1200">
          <a:solidFill>
            <a:schemeClr val="tx1"/>
          </a:solidFill>
          <a:latin typeface="+mn-lt"/>
          <a:ea typeface="+mn-ea"/>
          <a:cs typeface="+mn-cs"/>
        </a:defRPr>
      </a:lvl1pPr>
      <a:lvl2pPr marL="457178" algn="l" defTabSz="914355" rtl="0" eaLnBrk="1" latinLnBrk="0" hangingPunct="1">
        <a:defRPr sz="1800" kern="1200">
          <a:solidFill>
            <a:schemeClr val="tx1"/>
          </a:solidFill>
          <a:latin typeface="+mn-lt"/>
          <a:ea typeface="+mn-ea"/>
          <a:cs typeface="+mn-cs"/>
        </a:defRPr>
      </a:lvl2pPr>
      <a:lvl3pPr marL="914355" algn="l" defTabSz="914355" rtl="0" eaLnBrk="1" latinLnBrk="0" hangingPunct="1">
        <a:defRPr sz="1800" kern="1200">
          <a:solidFill>
            <a:schemeClr val="tx1"/>
          </a:solidFill>
          <a:latin typeface="+mn-lt"/>
          <a:ea typeface="+mn-ea"/>
          <a:cs typeface="+mn-cs"/>
        </a:defRPr>
      </a:lvl3pPr>
      <a:lvl4pPr marL="1371532" algn="l" defTabSz="914355" rtl="0" eaLnBrk="1" latinLnBrk="0" hangingPunct="1">
        <a:defRPr sz="1800" kern="1200">
          <a:solidFill>
            <a:schemeClr val="tx1"/>
          </a:solidFill>
          <a:latin typeface="+mn-lt"/>
          <a:ea typeface="+mn-ea"/>
          <a:cs typeface="+mn-cs"/>
        </a:defRPr>
      </a:lvl4pPr>
      <a:lvl5pPr marL="1828709" algn="l" defTabSz="914355" rtl="0" eaLnBrk="1" latinLnBrk="0" hangingPunct="1">
        <a:defRPr sz="1800" kern="1200">
          <a:solidFill>
            <a:schemeClr val="tx1"/>
          </a:solidFill>
          <a:latin typeface="+mn-lt"/>
          <a:ea typeface="+mn-ea"/>
          <a:cs typeface="+mn-cs"/>
        </a:defRPr>
      </a:lvl5pPr>
      <a:lvl6pPr marL="2285886" algn="l" defTabSz="914355" rtl="0" eaLnBrk="1" latinLnBrk="0" hangingPunct="1">
        <a:defRPr sz="1800" kern="1200">
          <a:solidFill>
            <a:schemeClr val="tx1"/>
          </a:solidFill>
          <a:latin typeface="+mn-lt"/>
          <a:ea typeface="+mn-ea"/>
          <a:cs typeface="+mn-cs"/>
        </a:defRPr>
      </a:lvl6pPr>
      <a:lvl7pPr marL="2743064" algn="l" defTabSz="914355" rtl="0" eaLnBrk="1" latinLnBrk="0" hangingPunct="1">
        <a:defRPr sz="1800" kern="1200">
          <a:solidFill>
            <a:schemeClr val="tx1"/>
          </a:solidFill>
          <a:latin typeface="+mn-lt"/>
          <a:ea typeface="+mn-ea"/>
          <a:cs typeface="+mn-cs"/>
        </a:defRPr>
      </a:lvl7pPr>
      <a:lvl8pPr marL="3200240" algn="l" defTabSz="914355" rtl="0" eaLnBrk="1" latinLnBrk="0" hangingPunct="1">
        <a:defRPr sz="1800" kern="1200">
          <a:solidFill>
            <a:schemeClr val="tx1"/>
          </a:solidFill>
          <a:latin typeface="+mn-lt"/>
          <a:ea typeface="+mn-ea"/>
          <a:cs typeface="+mn-cs"/>
        </a:defRPr>
      </a:lvl8pPr>
      <a:lvl9pPr marL="3657418" algn="l" defTabSz="91435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extLst/>
          </p:nvPr>
        </p:nvGraphicFramePr>
        <p:xfrm>
          <a:off x="0" y="0"/>
          <a:ext cx="161984" cy="121481"/>
        </p:xfrm>
        <a:graphic>
          <a:graphicData uri="http://schemas.openxmlformats.org/presentationml/2006/ole">
            <mc:AlternateContent xmlns:mc="http://schemas.openxmlformats.org/markup-compatibility/2006">
              <mc:Choice xmlns:v="urn:schemas-microsoft-com:vml" Requires="v">
                <p:oleObj spid="_x0000_s105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61984" cy="121481"/>
                      </a:xfrm>
                      <a:prstGeom prst="rect">
                        <a:avLst/>
                      </a:prstGeom>
                    </p:spPr>
                  </p:pic>
                </p:oleObj>
              </mc:Fallback>
            </mc:AlternateContent>
          </a:graphicData>
        </a:graphic>
      </p:graphicFrame>
      <p:sp>
        <p:nvSpPr>
          <p:cNvPr id="1026" name="SlideBottomBar"/>
          <p:cNvSpPr>
            <a:spLocks noChangeArrowheads="1"/>
          </p:cNvSpPr>
          <p:nvPr/>
        </p:nvSpPr>
        <p:spPr bwMode="auto">
          <a:xfrm>
            <a:off x="0" y="4821577"/>
            <a:ext cx="9144000" cy="323139"/>
          </a:xfrm>
          <a:prstGeom prst="rect">
            <a:avLst/>
          </a:prstGeom>
          <a:solidFill>
            <a:srgbClr val="C7DFFB"/>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00" dirty="0">
              <a:solidFill>
                <a:srgbClr val="000000"/>
              </a:solidFill>
            </a:endParaRPr>
          </a:p>
        </p:txBody>
      </p:sp>
      <p:sp>
        <p:nvSpPr>
          <p:cNvPr id="1033" name="doc id"/>
          <p:cNvSpPr>
            <a:spLocks noChangeArrowheads="1"/>
          </p:cNvSpPr>
          <p:nvPr/>
        </p:nvSpPr>
        <p:spPr bwMode="auto">
          <a:xfrm>
            <a:off x="8246609" y="27941"/>
            <a:ext cx="670614" cy="93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dirty="0">
              <a:solidFill>
                <a:srgbClr val="000000"/>
              </a:solidFill>
            </a:endParaRPr>
          </a:p>
        </p:txBody>
      </p:sp>
      <p:sp>
        <p:nvSpPr>
          <p:cNvPr id="1034" name="Working Draft"/>
          <p:cNvSpPr txBox="1">
            <a:spLocks noChangeArrowheads="1"/>
          </p:cNvSpPr>
          <p:nvPr/>
        </p:nvSpPr>
        <p:spPr bwMode="auto">
          <a:xfrm rot="5400000">
            <a:off x="8120543" y="1474167"/>
            <a:ext cx="1904367"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a:solidFill>
                  <a:srgbClr val="000000"/>
                </a:solidFill>
                <a:latin typeface="Arial"/>
              </a:rPr>
              <a:t>Last Modified 5/2/2016 9:25 PM Eastern Standard Time</a:t>
            </a:r>
            <a:endParaRPr lang="en-US" dirty="0">
              <a:solidFill>
                <a:srgbClr val="000000"/>
              </a:solidFill>
              <a:latin typeface="Arial"/>
            </a:endParaRPr>
          </a:p>
        </p:txBody>
      </p:sp>
      <p:sp>
        <p:nvSpPr>
          <p:cNvPr id="1035" name="Printed"/>
          <p:cNvSpPr txBox="1">
            <a:spLocks noChangeArrowheads="1"/>
          </p:cNvSpPr>
          <p:nvPr/>
        </p:nvSpPr>
        <p:spPr bwMode="auto">
          <a:xfrm rot="5400000">
            <a:off x="8950098" y="3137653"/>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dirty="0">
                <a:solidFill>
                  <a:srgbClr val="000000"/>
                </a:solidFill>
                <a:latin typeface="Arial"/>
              </a:rPr>
              <a:t>Printed</a:t>
            </a:r>
            <a:endParaRPr lang="en-US" dirty="0">
              <a:solidFill>
                <a:srgbClr val="000000"/>
              </a:solidFill>
              <a:latin typeface="Arial"/>
            </a:endParaRPr>
          </a:p>
        </p:txBody>
      </p:sp>
      <p:sp>
        <p:nvSpPr>
          <p:cNvPr id="19" name="Title Placeholder 2"/>
          <p:cNvSpPr>
            <a:spLocks noGrp="1" noChangeArrowheads="1"/>
          </p:cNvSpPr>
          <p:nvPr>
            <p:ph type="title"/>
          </p:nvPr>
        </p:nvSpPr>
        <p:spPr bwMode="auto">
          <a:xfrm>
            <a:off x="121489" y="176148"/>
            <a:ext cx="8794113"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userDrawn="1"/>
        </p:nvSpPr>
        <p:spPr bwMode="auto">
          <a:xfrm>
            <a:off x="121488" y="20652"/>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rPr>
              <a:t>TRACKER</a:t>
            </a:r>
          </a:p>
        </p:txBody>
      </p:sp>
      <p:sp>
        <p:nvSpPr>
          <p:cNvPr id="11" name="3. Unit of measure" hidden="1"/>
          <p:cNvSpPr txBox="1">
            <a:spLocks noChangeArrowheads="1"/>
          </p:cNvSpPr>
          <p:nvPr userDrawn="1"/>
        </p:nvSpPr>
        <p:spPr bwMode="auto">
          <a:xfrm>
            <a:off x="121488" y="406961"/>
            <a:ext cx="8794113"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808080"/>
                </a:solidFill>
                <a:latin typeface="Arial"/>
              </a:rPr>
              <a:t>Unit of measure</a:t>
            </a:r>
          </a:p>
        </p:txBody>
      </p:sp>
      <p:grpSp>
        <p:nvGrpSpPr>
          <p:cNvPr id="12" name="Slide Elements" hidden="1"/>
          <p:cNvGrpSpPr>
            <a:grpSpLocks/>
          </p:cNvGrpSpPr>
          <p:nvPr userDrawn="1"/>
        </p:nvGrpSpPr>
        <p:grpSpPr bwMode="auto">
          <a:xfrm>
            <a:off x="121489" y="4615058"/>
            <a:ext cx="8722840" cy="445835"/>
            <a:chOff x="75" y="3799"/>
            <a:chExt cx="5385" cy="367"/>
          </a:xfrm>
        </p:grpSpPr>
        <p:sp>
          <p:nvSpPr>
            <p:cNvPr id="13" name="4. Footnote"/>
            <p:cNvSpPr txBox="1">
              <a:spLocks noChangeArrowheads="1"/>
            </p:cNvSpPr>
            <p:nvPr/>
          </p:nvSpPr>
          <p:spPr bwMode="auto">
            <a:xfrm>
              <a:off x="75" y="3799"/>
              <a:ext cx="5385" cy="1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a:solidFill>
                    <a:srgbClr val="000000"/>
                  </a:solidFill>
                  <a:latin typeface="Arial"/>
                </a:rPr>
                <a:t>1 Footnote</a:t>
              </a:r>
            </a:p>
          </p:txBody>
        </p:sp>
        <p:sp>
          <p:nvSpPr>
            <p:cNvPr id="14" name="5. Source"/>
            <p:cNvSpPr>
              <a:spLocks noChangeArrowheads="1"/>
            </p:cNvSpPr>
            <p:nvPr/>
          </p:nvSpPr>
          <p:spPr bwMode="auto">
            <a:xfrm>
              <a:off x="75" y="4039"/>
              <a:ext cx="4323" cy="1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600" indent="-609600" defTabSz="895350">
                <a:tabLst>
                  <a:tab pos="612775" algn="l"/>
                </a:tabLst>
              </a:pPr>
              <a:r>
                <a:rPr lang="en-US" sz="1000" dirty="0">
                  <a:solidFill>
                    <a:srgbClr val="000000"/>
                  </a:solidFill>
                </a:rPr>
                <a:t>SOURCE: Source</a:t>
              </a:r>
            </a:p>
          </p:txBody>
        </p:sp>
      </p:grpSp>
      <p:grpSp>
        <p:nvGrpSpPr>
          <p:cNvPr id="15" name="ACET" hidden="1"/>
          <p:cNvGrpSpPr>
            <a:grpSpLocks/>
          </p:cNvGrpSpPr>
          <p:nvPr userDrawn="1"/>
        </p:nvGrpSpPr>
        <p:grpSpPr bwMode="auto">
          <a:xfrm>
            <a:off x="1482155" y="739819"/>
            <a:ext cx="4350892" cy="511435"/>
            <a:chOff x="915" y="609"/>
            <a:chExt cx="2686" cy="421"/>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09"/>
              <a:ext cx="2686" cy="42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dirty="0">
                  <a:solidFill>
                    <a:srgbClr val="000000"/>
                  </a:solidFill>
                </a:rPr>
                <a:t>Title</a:t>
              </a:r>
            </a:p>
            <a:p>
              <a:r>
                <a:rPr lang="en-US" sz="1600" dirty="0">
                  <a:solidFill>
                    <a:srgbClr val="808080"/>
                  </a:solidFill>
                </a:rPr>
                <a:t>Unit of measure</a:t>
              </a:r>
            </a:p>
          </p:txBody>
        </p:sp>
      </p:grpSp>
      <p:sp>
        <p:nvSpPr>
          <p:cNvPr id="20" name="SlideLogoText"/>
          <p:cNvSpPr>
            <a:spLocks noChangeArrowheads="1"/>
          </p:cNvSpPr>
          <p:nvPr userDrawn="1">
            <p:custDataLst>
              <p:tags r:id="rId6"/>
            </p:custDataLst>
          </p:nvPr>
        </p:nvSpPr>
        <p:spPr bwMode="auto">
          <a:xfrm>
            <a:off x="7245789" y="4906201"/>
            <a:ext cx="1256754"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1000" dirty="0">
                <a:solidFill>
                  <a:srgbClr val="000000"/>
                </a:solidFill>
              </a:rPr>
              <a:t>McKinsey &amp; Company</a:t>
            </a:r>
          </a:p>
        </p:txBody>
      </p:sp>
      <p:sp>
        <p:nvSpPr>
          <p:cNvPr id="3" name="Text Placeholder 2"/>
          <p:cNvSpPr>
            <a:spLocks noGrp="1"/>
          </p:cNvSpPr>
          <p:nvPr>
            <p:ph type="body" idx="1"/>
          </p:nvPr>
        </p:nvSpPr>
        <p:spPr>
          <a:xfrm>
            <a:off x="1482156" y="1493262"/>
            <a:ext cx="4389768" cy="1231106"/>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4267207"/>
      </p:ext>
    </p:extLst>
  </p:cSld>
  <p:clrMap bg1="lt1" tx1="dk1" bg2="lt2" tx2="dk2" accent1="accent1" accent2="accent2" accent3="accent3" accent4="accent4" accent5="accent5" accent6="accent6" hlink="hlink" folHlink="folHlink"/>
  <p:sldLayoutIdLst>
    <p:sldLayoutId id="2147484039" r:id="rId1"/>
    <p:sldLayoutId id="2147484040" r:id="rId2"/>
  </p:sldLayoutIdLst>
  <p:hf hdr="0" ftr="0" dt="0"/>
  <p:txStyles>
    <p:title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1.xml"/><Relationship Id="rId5" Type="http://schemas.openxmlformats.org/officeDocument/2006/relationships/image" Target="../media/image23.png"/><Relationship Id="rId4" Type="http://schemas.openxmlformats.org/officeDocument/2006/relationships/chart" Target="../charts/chart3.xml"/></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1.xml"/><Relationship Id="rId4" Type="http://schemas.openxmlformats.org/officeDocument/2006/relationships/image" Target="../media/image26.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9.jpeg"/><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0.jpeg"/><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1.jpeg"/><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2.jpeg"/><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7.tif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5.xml"/><Relationship Id="rId1" Type="http://schemas.openxmlformats.org/officeDocument/2006/relationships/tags" Target="../tags/tag7.xml"/></Relationships>
</file>

<file path=ppt/slides/_rels/slide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319206" y="1375875"/>
            <a:ext cx="5594023" cy="806278"/>
          </a:xfrm>
        </p:spPr>
        <p:txBody>
          <a:bodyPr/>
          <a:lstStyle/>
          <a:p>
            <a:r>
              <a:rPr lang="en-US" dirty="0"/>
              <a:t>Technology Business Management Framework</a:t>
            </a:r>
          </a:p>
        </p:txBody>
      </p:sp>
      <p:sp>
        <p:nvSpPr>
          <p:cNvPr id="3" name="Text Placeholder 2"/>
          <p:cNvSpPr>
            <a:spLocks noGrp="1"/>
          </p:cNvSpPr>
          <p:nvPr>
            <p:ph type="body" sz="quarter" idx="13"/>
          </p:nvPr>
        </p:nvSpPr>
        <p:spPr/>
        <p:txBody>
          <a:bodyPr/>
          <a:lstStyle/>
          <a:p>
            <a:r>
              <a:rPr lang="en-US" dirty="0"/>
              <a:t>Todd Tucker</a:t>
            </a:r>
          </a:p>
        </p:txBody>
      </p:sp>
      <p:sp>
        <p:nvSpPr>
          <p:cNvPr id="6" name="Text Placeholder 5"/>
          <p:cNvSpPr>
            <a:spLocks noGrp="1"/>
          </p:cNvSpPr>
          <p:nvPr>
            <p:ph type="body" sz="quarter" idx="14"/>
          </p:nvPr>
        </p:nvSpPr>
        <p:spPr/>
        <p:txBody>
          <a:bodyPr/>
          <a:lstStyle/>
          <a:p>
            <a:r>
              <a:rPr lang="en-US" dirty="0"/>
              <a:t>VP, Standards, Research &amp; Education</a:t>
            </a:r>
          </a:p>
        </p:txBody>
      </p:sp>
      <p:sp>
        <p:nvSpPr>
          <p:cNvPr id="7" name="Text Placeholder 6"/>
          <p:cNvSpPr>
            <a:spLocks noGrp="1"/>
          </p:cNvSpPr>
          <p:nvPr>
            <p:ph type="body" sz="quarter" idx="15"/>
          </p:nvPr>
        </p:nvSpPr>
        <p:spPr/>
        <p:txBody>
          <a:bodyPr/>
          <a:lstStyle/>
          <a:p>
            <a:r>
              <a:rPr lang="en-US" dirty="0"/>
              <a:t>Published: April 2018</a:t>
            </a:r>
          </a:p>
        </p:txBody>
      </p:sp>
    </p:spTree>
    <p:extLst>
      <p:ext uri="{BB962C8B-B14F-4D97-AF65-F5344CB8AC3E}">
        <p14:creationId xmlns:p14="http://schemas.microsoft.com/office/powerpoint/2010/main" val="317803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st-for-Performance</a:t>
            </a:r>
            <a:br>
              <a:rPr lang="en-US" dirty="0"/>
            </a:br>
            <a:r>
              <a:rPr lang="en-US" sz="1600" i="1" dirty="0">
                <a:solidFill>
                  <a:srgbClr val="F26724"/>
                </a:solidFill>
              </a:rPr>
              <a:t>How do you improve cost-for-performance in light of business value?</a:t>
            </a:r>
            <a:endParaRPr lang="en-US" dirty="0"/>
          </a:p>
        </p:txBody>
      </p:sp>
      <p:sp>
        <p:nvSpPr>
          <p:cNvPr id="24" name="Text Placeholder 23"/>
          <p:cNvSpPr>
            <a:spLocks noGrp="1"/>
          </p:cNvSpPr>
          <p:nvPr>
            <p:ph type="body" sz="quarter" idx="10"/>
          </p:nvPr>
        </p:nvSpPr>
        <p:spPr>
          <a:xfrm>
            <a:off x="457201" y="914400"/>
            <a:ext cx="2536811" cy="3714750"/>
          </a:xfrm>
        </p:spPr>
        <p:txBody>
          <a:bodyPr>
            <a:normAutofit fontScale="92500"/>
          </a:bodyPr>
          <a:lstStyle/>
          <a:p>
            <a:pPr>
              <a:spcBef>
                <a:spcPts val="600"/>
              </a:spcBef>
              <a:spcAft>
                <a:spcPts val="600"/>
              </a:spcAft>
            </a:pPr>
            <a:r>
              <a:rPr lang="en-US" dirty="0"/>
              <a:t>Service portfolio matrix: Value vs. Cost</a:t>
            </a:r>
          </a:p>
          <a:p>
            <a:pPr>
              <a:spcBef>
                <a:spcPts val="600"/>
              </a:spcBef>
              <a:spcAft>
                <a:spcPts val="600"/>
              </a:spcAft>
            </a:pPr>
            <a:r>
              <a:rPr lang="en-US" dirty="0"/>
              <a:t>Who manages…</a:t>
            </a:r>
          </a:p>
          <a:p>
            <a:pPr lvl="1">
              <a:spcBef>
                <a:spcPts val="600"/>
              </a:spcBef>
              <a:spcAft>
                <a:spcPts val="600"/>
              </a:spcAft>
            </a:pPr>
            <a:r>
              <a:rPr lang="en-US" dirty="0"/>
              <a:t>Service cost?</a:t>
            </a:r>
          </a:p>
          <a:p>
            <a:pPr lvl="1">
              <a:spcBef>
                <a:spcPts val="600"/>
              </a:spcBef>
              <a:spcAft>
                <a:spcPts val="600"/>
              </a:spcAft>
            </a:pPr>
            <a:r>
              <a:rPr lang="en-US" dirty="0"/>
              <a:t>Portfolio alignment?</a:t>
            </a:r>
          </a:p>
          <a:p>
            <a:pPr lvl="1">
              <a:spcBef>
                <a:spcPts val="600"/>
              </a:spcBef>
              <a:spcAft>
                <a:spcPts val="600"/>
              </a:spcAft>
            </a:pPr>
            <a:r>
              <a:rPr lang="en-US" dirty="0"/>
              <a:t>Service demand?</a:t>
            </a:r>
          </a:p>
          <a:p>
            <a:pPr lvl="1">
              <a:spcBef>
                <a:spcPts val="600"/>
              </a:spcBef>
              <a:spcAft>
                <a:spcPts val="600"/>
              </a:spcAft>
            </a:pPr>
            <a:r>
              <a:rPr lang="en-US" dirty="0"/>
              <a:t>Service value?</a:t>
            </a:r>
          </a:p>
          <a:p>
            <a:pPr>
              <a:spcBef>
                <a:spcPts val="600"/>
              </a:spcBef>
              <a:spcAft>
                <a:spcPts val="600"/>
              </a:spcAft>
            </a:pPr>
            <a:r>
              <a:rPr lang="en-US" dirty="0"/>
              <a:t>How can you help them be successful?</a:t>
            </a:r>
          </a:p>
        </p:txBody>
      </p:sp>
      <p:grpSp>
        <p:nvGrpSpPr>
          <p:cNvPr id="23" name="Group 22"/>
          <p:cNvGrpSpPr/>
          <p:nvPr/>
        </p:nvGrpSpPr>
        <p:grpSpPr>
          <a:xfrm>
            <a:off x="2989664" y="1013901"/>
            <a:ext cx="6029206" cy="3809762"/>
            <a:chOff x="561206" y="1013901"/>
            <a:chExt cx="6889494" cy="3651032"/>
          </a:xfrm>
        </p:grpSpPr>
        <p:sp>
          <p:nvSpPr>
            <p:cNvPr id="39" name="Rectangle 38"/>
            <p:cNvSpPr/>
            <p:nvPr/>
          </p:nvSpPr>
          <p:spPr>
            <a:xfrm>
              <a:off x="6167478" y="1021666"/>
              <a:ext cx="1283222" cy="3146915"/>
            </a:xfrm>
            <a:prstGeom prst="rect">
              <a:avLst/>
            </a:prstGeom>
            <a:solidFill>
              <a:schemeClr val="bg1">
                <a:lumMod val="9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95000"/>
                    <a:lumOff val="5000"/>
                  </a:schemeClr>
                </a:solidFill>
                <a:latin typeface="Garamond" panose="02020404030301010803" pitchFamily="18" charset="0"/>
              </a:endParaRPr>
            </a:p>
          </p:txBody>
        </p:sp>
        <p:sp>
          <p:nvSpPr>
            <p:cNvPr id="41" name="TextBox 40"/>
            <p:cNvSpPr txBox="1"/>
            <p:nvPr/>
          </p:nvSpPr>
          <p:spPr>
            <a:xfrm>
              <a:off x="6357074" y="1951817"/>
              <a:ext cx="904030" cy="215444"/>
            </a:xfrm>
            <a:prstGeom prst="rect">
              <a:avLst/>
            </a:prstGeom>
            <a:noFill/>
          </p:spPr>
          <p:txBody>
            <a:bodyPr wrap="none" lIns="0" tIns="0" rIns="0" bIns="0" rtlCol="0">
              <a:spAutoFit/>
            </a:bodyPr>
            <a:lstStyle/>
            <a:p>
              <a:pPr algn="ctr"/>
              <a:r>
                <a:rPr lang="en-US" sz="1400" b="1" dirty="0">
                  <a:latin typeface="Garamond" panose="02020404030301010803" pitchFamily="18" charset="0"/>
                </a:rPr>
                <a:t>Size = TCO</a:t>
              </a:r>
            </a:p>
          </p:txBody>
        </p:sp>
        <p:sp>
          <p:nvSpPr>
            <p:cNvPr id="43" name="TextBox 42"/>
            <p:cNvSpPr txBox="1"/>
            <p:nvPr/>
          </p:nvSpPr>
          <p:spPr>
            <a:xfrm>
              <a:off x="6291383" y="2363105"/>
              <a:ext cx="1035413" cy="184666"/>
            </a:xfrm>
            <a:prstGeom prst="rect">
              <a:avLst/>
            </a:prstGeom>
            <a:noFill/>
          </p:spPr>
          <p:txBody>
            <a:bodyPr wrap="none" lIns="0" tIns="0" rIns="0" bIns="0" rtlCol="0">
              <a:spAutoFit/>
            </a:bodyPr>
            <a:lstStyle/>
            <a:p>
              <a:pPr algn="ctr"/>
              <a:r>
                <a:rPr lang="en-US" sz="1200" b="1" dirty="0">
                  <a:latin typeface="Garamond" panose="02020404030301010803" pitchFamily="18" charset="0"/>
                </a:rPr>
                <a:t>Demand Profile</a:t>
              </a:r>
            </a:p>
          </p:txBody>
        </p:sp>
        <p:grpSp>
          <p:nvGrpSpPr>
            <p:cNvPr id="62" name="Group 61"/>
            <p:cNvGrpSpPr/>
            <p:nvPr/>
          </p:nvGrpSpPr>
          <p:grpSpPr>
            <a:xfrm>
              <a:off x="6317873" y="2618217"/>
              <a:ext cx="982433" cy="1189089"/>
              <a:chOff x="6397439" y="2564964"/>
              <a:chExt cx="1502189" cy="1189089"/>
            </a:xfrm>
          </p:grpSpPr>
          <p:sp>
            <p:nvSpPr>
              <p:cNvPr id="45" name="Rectangle 44"/>
              <p:cNvSpPr/>
              <p:nvPr/>
            </p:nvSpPr>
            <p:spPr>
              <a:xfrm rot="5400000">
                <a:off x="6553989" y="2408414"/>
                <a:ext cx="1189089" cy="1502189"/>
              </a:xfrm>
              <a:prstGeom prst="rect">
                <a:avLst/>
              </a:prstGeom>
              <a:gradFill>
                <a:gsLst>
                  <a:gs pos="65000">
                    <a:srgbClr val="FFFF00"/>
                  </a:gs>
                  <a:gs pos="35000">
                    <a:srgbClr val="FFFF00"/>
                  </a:gs>
                  <a:gs pos="0">
                    <a:srgbClr val="00B050"/>
                  </a:gs>
                  <a:gs pos="100000">
                    <a:srgbClr val="FF0000"/>
                  </a:gs>
                </a:gsLst>
                <a:lin ang="0" scaled="0"/>
              </a:gra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100" b="1">
                  <a:solidFill>
                    <a:schemeClr val="tx1"/>
                  </a:solidFill>
                  <a:latin typeface="Garamond" panose="02020404030301010803" pitchFamily="18" charset="0"/>
                </a:endParaRPr>
              </a:p>
            </p:txBody>
          </p:sp>
          <p:sp>
            <p:nvSpPr>
              <p:cNvPr id="46" name="TextBox 45"/>
              <p:cNvSpPr txBox="1"/>
              <p:nvPr/>
            </p:nvSpPr>
            <p:spPr>
              <a:xfrm>
                <a:off x="6807093" y="3506428"/>
                <a:ext cx="682880" cy="184666"/>
              </a:xfrm>
              <a:prstGeom prst="rect">
                <a:avLst/>
              </a:prstGeom>
              <a:noFill/>
            </p:spPr>
            <p:txBody>
              <a:bodyPr wrap="none" lIns="0" tIns="0" rIns="0" bIns="0" rtlCol="0">
                <a:spAutoFit/>
              </a:bodyPr>
              <a:lstStyle/>
              <a:p>
                <a:pPr algn="ctr"/>
                <a:r>
                  <a:rPr lang="en-US" sz="1200" b="1" dirty="0">
                    <a:solidFill>
                      <a:schemeClr val="bg1"/>
                    </a:solidFill>
                    <a:latin typeface="Garamond" panose="02020404030301010803" pitchFamily="18" charset="0"/>
                  </a:rPr>
                  <a:t>Declining </a:t>
                </a:r>
              </a:p>
            </p:txBody>
          </p:sp>
          <p:sp>
            <p:nvSpPr>
              <p:cNvPr id="47" name="TextBox 46"/>
              <p:cNvSpPr txBox="1"/>
              <p:nvPr/>
            </p:nvSpPr>
            <p:spPr>
              <a:xfrm>
                <a:off x="6846367" y="2572734"/>
                <a:ext cx="604333" cy="184666"/>
              </a:xfrm>
              <a:prstGeom prst="rect">
                <a:avLst/>
              </a:prstGeom>
              <a:noFill/>
            </p:spPr>
            <p:txBody>
              <a:bodyPr wrap="none" lIns="0" tIns="0" rIns="0" bIns="0" rtlCol="0">
                <a:spAutoFit/>
              </a:bodyPr>
              <a:lstStyle/>
              <a:p>
                <a:pPr algn="ctr"/>
                <a:r>
                  <a:rPr lang="en-US" sz="1200" b="1" dirty="0">
                    <a:latin typeface="Garamond" panose="02020404030301010803" pitchFamily="18" charset="0"/>
                  </a:rPr>
                  <a:t> Growing</a:t>
                </a:r>
              </a:p>
            </p:txBody>
          </p:sp>
        </p:grpSp>
        <p:sp>
          <p:nvSpPr>
            <p:cNvPr id="3" name="TextBox 2"/>
            <p:cNvSpPr txBox="1"/>
            <p:nvPr/>
          </p:nvSpPr>
          <p:spPr>
            <a:xfrm>
              <a:off x="2512893" y="4369979"/>
              <a:ext cx="2104146" cy="294954"/>
            </a:xfrm>
            <a:prstGeom prst="rect">
              <a:avLst/>
            </a:prstGeom>
            <a:noFill/>
          </p:spPr>
          <p:txBody>
            <a:bodyPr wrap="none" rtlCol="0">
              <a:spAutoFit/>
            </a:bodyPr>
            <a:lstStyle/>
            <a:p>
              <a:pPr algn="ctr"/>
              <a:r>
                <a:rPr lang="en-US" sz="1400" b="1" dirty="0">
                  <a:latin typeface="Garamond" panose="02020404030301010803" pitchFamily="18" charset="0"/>
                </a:rPr>
                <a:t>Cost-for-Performance</a:t>
              </a:r>
            </a:p>
          </p:txBody>
        </p:sp>
        <p:sp>
          <p:nvSpPr>
            <p:cNvPr id="5" name="TextBox 4"/>
            <p:cNvSpPr txBox="1"/>
            <p:nvPr/>
          </p:nvSpPr>
          <p:spPr>
            <a:xfrm rot="16200000">
              <a:off x="-117790" y="2410190"/>
              <a:ext cx="1709686" cy="351693"/>
            </a:xfrm>
            <a:prstGeom prst="rect">
              <a:avLst/>
            </a:prstGeom>
            <a:noFill/>
          </p:spPr>
          <p:txBody>
            <a:bodyPr wrap="none" rtlCol="0">
              <a:spAutoFit/>
            </a:bodyPr>
            <a:lstStyle/>
            <a:p>
              <a:pPr algn="ctr"/>
              <a:r>
                <a:rPr lang="en-US" sz="1400" b="1" dirty="0">
                  <a:latin typeface="Garamond" panose="02020404030301010803" pitchFamily="18" charset="0"/>
                </a:rPr>
                <a:t>Business Value Class</a:t>
              </a:r>
            </a:p>
          </p:txBody>
        </p:sp>
        <p:sp>
          <p:nvSpPr>
            <p:cNvPr id="17" name="TextBox 16"/>
            <p:cNvSpPr txBox="1"/>
            <p:nvPr/>
          </p:nvSpPr>
          <p:spPr>
            <a:xfrm rot="16200000">
              <a:off x="460042" y="1405858"/>
              <a:ext cx="998991" cy="261610"/>
            </a:xfrm>
            <a:prstGeom prst="rect">
              <a:avLst/>
            </a:prstGeom>
            <a:noFill/>
          </p:spPr>
          <p:txBody>
            <a:bodyPr wrap="none" rtlCol="0">
              <a:spAutoFit/>
            </a:bodyPr>
            <a:lstStyle/>
            <a:p>
              <a:pPr algn="ctr"/>
              <a:r>
                <a:rPr lang="en-US" sz="1100" b="1" dirty="0">
                  <a:latin typeface="Garamond" panose="02020404030301010803" pitchFamily="18" charset="0"/>
                </a:rPr>
                <a:t>Differentiator</a:t>
              </a:r>
            </a:p>
          </p:txBody>
        </p:sp>
        <p:sp>
          <p:nvSpPr>
            <p:cNvPr id="18" name="TextBox 17"/>
            <p:cNvSpPr txBox="1"/>
            <p:nvPr/>
          </p:nvSpPr>
          <p:spPr>
            <a:xfrm rot="16200000">
              <a:off x="443214" y="2461691"/>
              <a:ext cx="1032655" cy="261610"/>
            </a:xfrm>
            <a:prstGeom prst="rect">
              <a:avLst/>
            </a:prstGeom>
            <a:noFill/>
          </p:spPr>
          <p:txBody>
            <a:bodyPr wrap="none" rtlCol="0">
              <a:spAutoFit/>
            </a:bodyPr>
            <a:lstStyle/>
            <a:p>
              <a:pPr algn="ctr"/>
              <a:r>
                <a:rPr lang="en-US" sz="1100" b="1" dirty="0">
                  <a:latin typeface="Garamond" panose="02020404030301010803" pitchFamily="18" charset="0"/>
                </a:rPr>
                <a:t>Advantageous</a:t>
              </a:r>
            </a:p>
          </p:txBody>
        </p:sp>
        <p:sp>
          <p:nvSpPr>
            <p:cNvPr id="19" name="TextBox 18"/>
            <p:cNvSpPr txBox="1"/>
            <p:nvPr/>
          </p:nvSpPr>
          <p:spPr>
            <a:xfrm rot="16200000">
              <a:off x="591493" y="3504611"/>
              <a:ext cx="736100" cy="261610"/>
            </a:xfrm>
            <a:prstGeom prst="rect">
              <a:avLst/>
            </a:prstGeom>
            <a:noFill/>
          </p:spPr>
          <p:txBody>
            <a:bodyPr wrap="none" rtlCol="0">
              <a:spAutoFit/>
            </a:bodyPr>
            <a:lstStyle/>
            <a:p>
              <a:pPr algn="ctr"/>
              <a:r>
                <a:rPr lang="en-US" sz="1100" b="1" dirty="0">
                  <a:latin typeface="Garamond" panose="02020404030301010803" pitchFamily="18" charset="0"/>
                </a:rPr>
                <a:t>Essential</a:t>
              </a:r>
            </a:p>
          </p:txBody>
        </p:sp>
        <p:sp>
          <p:nvSpPr>
            <p:cNvPr id="20" name="TextBox 19"/>
            <p:cNvSpPr txBox="1"/>
            <p:nvPr/>
          </p:nvSpPr>
          <p:spPr>
            <a:xfrm>
              <a:off x="4744773" y="4166609"/>
              <a:ext cx="958918" cy="261610"/>
            </a:xfrm>
            <a:prstGeom prst="rect">
              <a:avLst/>
            </a:prstGeom>
            <a:noFill/>
          </p:spPr>
          <p:txBody>
            <a:bodyPr wrap="none" rtlCol="0">
              <a:spAutoFit/>
            </a:bodyPr>
            <a:lstStyle/>
            <a:p>
              <a:pPr algn="ctr"/>
              <a:r>
                <a:rPr lang="en-US" sz="1100" b="1" dirty="0">
                  <a:latin typeface="Garamond" panose="02020404030301010803" pitchFamily="18" charset="0"/>
                </a:rPr>
                <a:t>Best in Class</a:t>
              </a:r>
            </a:p>
          </p:txBody>
        </p:sp>
        <p:sp>
          <p:nvSpPr>
            <p:cNvPr id="21" name="TextBox 20"/>
            <p:cNvSpPr txBox="1"/>
            <p:nvPr/>
          </p:nvSpPr>
          <p:spPr>
            <a:xfrm>
              <a:off x="2873357" y="4166609"/>
              <a:ext cx="1383713" cy="261610"/>
            </a:xfrm>
            <a:prstGeom prst="rect">
              <a:avLst/>
            </a:prstGeom>
            <a:noFill/>
          </p:spPr>
          <p:txBody>
            <a:bodyPr wrap="none" rtlCol="0">
              <a:spAutoFit/>
            </a:bodyPr>
            <a:lstStyle/>
            <a:p>
              <a:pPr algn="ctr"/>
              <a:r>
                <a:rPr lang="en-US" sz="1100" b="1" dirty="0">
                  <a:latin typeface="Garamond" panose="02020404030301010803" pitchFamily="18" charset="0"/>
                </a:rPr>
                <a:t>Above Expectations</a:t>
              </a:r>
            </a:p>
          </p:txBody>
        </p:sp>
        <p:sp>
          <p:nvSpPr>
            <p:cNvPr id="22" name="TextBox 21"/>
            <p:cNvSpPr txBox="1"/>
            <p:nvPr/>
          </p:nvSpPr>
          <p:spPr>
            <a:xfrm>
              <a:off x="1215432" y="4166609"/>
              <a:ext cx="1380508" cy="261610"/>
            </a:xfrm>
            <a:prstGeom prst="rect">
              <a:avLst/>
            </a:prstGeom>
            <a:noFill/>
          </p:spPr>
          <p:txBody>
            <a:bodyPr wrap="none" rtlCol="0">
              <a:spAutoFit/>
            </a:bodyPr>
            <a:lstStyle/>
            <a:p>
              <a:pPr algn="ctr"/>
              <a:r>
                <a:rPr lang="en-US" sz="1100" b="1" dirty="0">
                  <a:latin typeface="Garamond" panose="02020404030301010803" pitchFamily="18" charset="0"/>
                </a:rPr>
                <a:t>Below Expectations</a:t>
              </a:r>
            </a:p>
          </p:txBody>
        </p:sp>
        <p:grpSp>
          <p:nvGrpSpPr>
            <p:cNvPr id="4" name="Group 3"/>
            <p:cNvGrpSpPr/>
            <p:nvPr/>
          </p:nvGrpSpPr>
          <p:grpSpPr>
            <a:xfrm>
              <a:off x="1076545" y="1013901"/>
              <a:ext cx="4956816" cy="3154680"/>
              <a:chOff x="1076545" y="1013901"/>
              <a:chExt cx="4956816" cy="3154680"/>
            </a:xfrm>
          </p:grpSpPr>
          <p:sp>
            <p:nvSpPr>
              <p:cNvPr id="7" name="Rectangle 6"/>
              <p:cNvSpPr/>
              <p:nvPr/>
            </p:nvSpPr>
            <p:spPr>
              <a:xfrm>
                <a:off x="1090348" y="2066909"/>
                <a:ext cx="1645920" cy="1051560"/>
              </a:xfrm>
              <a:prstGeom prst="rect">
                <a:avLst/>
              </a:prstGeom>
              <a:solidFill>
                <a:schemeClr val="accent6">
                  <a:lumMod val="20000"/>
                  <a:lumOff val="80000"/>
                </a:schemeClr>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050">
                  <a:solidFill>
                    <a:schemeClr val="tx1"/>
                  </a:solidFill>
                  <a:latin typeface="Garamond" panose="02020404030301010803" pitchFamily="18" charset="0"/>
                </a:endParaRPr>
              </a:p>
            </p:txBody>
          </p:sp>
          <p:sp>
            <p:nvSpPr>
              <p:cNvPr id="9" name="Rectangle 8"/>
              <p:cNvSpPr/>
              <p:nvPr/>
            </p:nvSpPr>
            <p:spPr>
              <a:xfrm>
                <a:off x="2738895" y="2069851"/>
                <a:ext cx="1645920" cy="1051560"/>
              </a:xfrm>
              <a:prstGeom prst="rect">
                <a:avLst/>
              </a:prstGeom>
              <a:solidFill>
                <a:schemeClr val="accent3">
                  <a:lumMod val="20000"/>
                  <a:lumOff val="80000"/>
                </a:schemeClr>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050" dirty="0">
                  <a:solidFill>
                    <a:schemeClr val="tx1"/>
                  </a:solidFill>
                  <a:latin typeface="Garamond" panose="02020404030301010803" pitchFamily="18" charset="0"/>
                </a:endParaRPr>
              </a:p>
            </p:txBody>
          </p:sp>
          <p:sp>
            <p:nvSpPr>
              <p:cNvPr id="6" name="Rectangle 5"/>
              <p:cNvSpPr/>
              <p:nvPr/>
            </p:nvSpPr>
            <p:spPr>
              <a:xfrm>
                <a:off x="1090348" y="1018724"/>
                <a:ext cx="1645920" cy="1051560"/>
              </a:xfrm>
              <a:prstGeom prst="rect">
                <a:avLst/>
              </a:prstGeom>
              <a:solidFill>
                <a:schemeClr val="accent6">
                  <a:lumMod val="20000"/>
                  <a:lumOff val="80000"/>
                </a:schemeClr>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50" b="1">
                    <a:solidFill>
                      <a:schemeClr val="tx1"/>
                    </a:solidFill>
                    <a:latin typeface="Garamond" panose="02020404030301010803" pitchFamily="18" charset="0"/>
                  </a:rPr>
                  <a:t>Loss Leaders</a:t>
                </a:r>
              </a:p>
            </p:txBody>
          </p:sp>
          <p:sp>
            <p:nvSpPr>
              <p:cNvPr id="8" name="Rectangle 7"/>
              <p:cNvSpPr/>
              <p:nvPr/>
            </p:nvSpPr>
            <p:spPr>
              <a:xfrm>
                <a:off x="2738895" y="1021666"/>
                <a:ext cx="1645920" cy="1051560"/>
              </a:xfrm>
              <a:prstGeom prst="rect">
                <a:avLst/>
              </a:prstGeom>
              <a:solidFill>
                <a:schemeClr val="accent3">
                  <a:lumMod val="20000"/>
                  <a:lumOff val="80000"/>
                </a:schemeClr>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050">
                  <a:solidFill>
                    <a:schemeClr val="tx1"/>
                  </a:solidFill>
                  <a:latin typeface="Garamond" panose="02020404030301010803" pitchFamily="18" charset="0"/>
                </a:endParaRPr>
              </a:p>
            </p:txBody>
          </p:sp>
          <p:sp>
            <p:nvSpPr>
              <p:cNvPr id="10" name="Rectangle 9"/>
              <p:cNvSpPr/>
              <p:nvPr/>
            </p:nvSpPr>
            <p:spPr>
              <a:xfrm>
                <a:off x="4387441" y="1021666"/>
                <a:ext cx="1645920" cy="1051560"/>
              </a:xfrm>
              <a:prstGeom prst="rect">
                <a:avLst/>
              </a:prstGeom>
              <a:solidFill>
                <a:schemeClr val="accent3">
                  <a:lumMod val="20000"/>
                  <a:lumOff val="80000"/>
                </a:schemeClr>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r>
                  <a:rPr lang="en-US" sz="1050" b="1" dirty="0">
                    <a:solidFill>
                      <a:schemeClr val="tx1"/>
                    </a:solidFill>
                    <a:latin typeface="Garamond" panose="02020404030301010803" pitchFamily="18" charset="0"/>
                  </a:rPr>
                  <a:t>Top Performers</a:t>
                </a:r>
              </a:p>
            </p:txBody>
          </p:sp>
          <p:sp>
            <p:nvSpPr>
              <p:cNvPr id="11" name="Rectangle 10"/>
              <p:cNvSpPr/>
              <p:nvPr/>
            </p:nvSpPr>
            <p:spPr>
              <a:xfrm>
                <a:off x="4387441" y="2069851"/>
                <a:ext cx="1645920" cy="1051560"/>
              </a:xfrm>
              <a:prstGeom prst="rect">
                <a:avLst/>
              </a:prstGeom>
              <a:solidFill>
                <a:schemeClr val="accent3">
                  <a:lumMod val="20000"/>
                  <a:lumOff val="80000"/>
                </a:schemeClr>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050">
                  <a:solidFill>
                    <a:schemeClr val="tx1"/>
                  </a:solidFill>
                  <a:latin typeface="Garamond" panose="02020404030301010803" pitchFamily="18" charset="0"/>
                </a:endParaRPr>
              </a:p>
            </p:txBody>
          </p:sp>
          <p:sp>
            <p:nvSpPr>
              <p:cNvPr id="12" name="Rectangle 11"/>
              <p:cNvSpPr/>
              <p:nvPr/>
            </p:nvSpPr>
            <p:spPr>
              <a:xfrm>
                <a:off x="1090348" y="3114005"/>
                <a:ext cx="1645920" cy="1051560"/>
              </a:xfrm>
              <a:prstGeom prst="rect">
                <a:avLst/>
              </a:prstGeom>
              <a:solidFill>
                <a:schemeClr val="accent2">
                  <a:lumMod val="20000"/>
                  <a:lumOff val="80000"/>
                </a:schemeClr>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en-US" sz="1050" b="1">
                    <a:solidFill>
                      <a:schemeClr val="tx1"/>
                    </a:solidFill>
                    <a:latin typeface="Garamond" panose="02020404030301010803" pitchFamily="18" charset="0"/>
                  </a:rPr>
                  <a:t>Divestment Candidates</a:t>
                </a:r>
              </a:p>
            </p:txBody>
          </p:sp>
          <p:sp>
            <p:nvSpPr>
              <p:cNvPr id="13" name="Rectangle 12"/>
              <p:cNvSpPr/>
              <p:nvPr/>
            </p:nvSpPr>
            <p:spPr>
              <a:xfrm>
                <a:off x="2738895" y="3114005"/>
                <a:ext cx="1645920" cy="1051560"/>
              </a:xfrm>
              <a:prstGeom prst="rect">
                <a:avLst/>
              </a:prstGeom>
              <a:solidFill>
                <a:schemeClr val="accent6">
                  <a:lumMod val="20000"/>
                  <a:lumOff val="80000"/>
                </a:schemeClr>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050">
                  <a:solidFill>
                    <a:schemeClr val="tx1"/>
                  </a:solidFill>
                  <a:latin typeface="Garamond" panose="02020404030301010803" pitchFamily="18" charset="0"/>
                </a:endParaRPr>
              </a:p>
            </p:txBody>
          </p:sp>
          <p:sp>
            <p:nvSpPr>
              <p:cNvPr id="14" name="Rectangle 13"/>
              <p:cNvSpPr/>
              <p:nvPr/>
            </p:nvSpPr>
            <p:spPr>
              <a:xfrm>
                <a:off x="4387441" y="3114005"/>
                <a:ext cx="1645920" cy="1051560"/>
              </a:xfrm>
              <a:prstGeom prst="rect">
                <a:avLst/>
              </a:prstGeom>
              <a:solidFill>
                <a:schemeClr val="accent6">
                  <a:lumMod val="20000"/>
                  <a:lumOff val="80000"/>
                </a:schemeClr>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r"/>
                <a:r>
                  <a:rPr lang="en-US" sz="1050" b="1">
                    <a:solidFill>
                      <a:schemeClr val="tx1"/>
                    </a:solidFill>
                    <a:latin typeface="Garamond" panose="02020404030301010803" pitchFamily="18" charset="0"/>
                  </a:rPr>
                  <a:t>Subsidizers</a:t>
                </a:r>
              </a:p>
            </p:txBody>
          </p:sp>
          <p:cxnSp>
            <p:nvCxnSpPr>
              <p:cNvPr id="15" name="Straight Connector 14"/>
              <p:cNvCxnSpPr/>
              <p:nvPr/>
            </p:nvCxnSpPr>
            <p:spPr>
              <a:xfrm>
                <a:off x="1076545" y="3114005"/>
                <a:ext cx="4937760" cy="0"/>
              </a:xfrm>
              <a:prstGeom prst="line">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2735310" y="1013901"/>
                <a:ext cx="0" cy="3154680"/>
              </a:xfrm>
              <a:prstGeom prst="line">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1090348" y="1013901"/>
                <a:ext cx="0" cy="3154680"/>
              </a:xfrm>
              <a:prstGeom prst="line">
                <a:avLst/>
              </a:prstGeom>
              <a:ln w="28575">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4384815" y="1013901"/>
                <a:ext cx="0" cy="3154680"/>
              </a:xfrm>
              <a:prstGeom prst="line">
                <a:avLst/>
              </a:prstGeom>
              <a:ln w="28575">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6033342" y="1013901"/>
                <a:ext cx="0" cy="3154680"/>
              </a:xfrm>
              <a:prstGeom prst="line">
                <a:avLst/>
              </a:prstGeom>
              <a:ln w="28575">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1090348" y="4166609"/>
                <a:ext cx="4937760" cy="0"/>
              </a:xfrm>
              <a:prstGeom prst="line">
                <a:avLst/>
              </a:prstGeom>
              <a:ln w="28575">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1090348" y="2073226"/>
                <a:ext cx="4937760" cy="0"/>
              </a:xfrm>
              <a:prstGeom prst="line">
                <a:avLst/>
              </a:prstGeom>
              <a:ln w="28575">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1090348" y="1018724"/>
                <a:ext cx="4937760" cy="0"/>
              </a:xfrm>
              <a:prstGeom prst="line">
                <a:avLst/>
              </a:prstGeom>
              <a:ln w="28575">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8" name="Group 57"/>
            <p:cNvGrpSpPr/>
            <p:nvPr/>
          </p:nvGrpSpPr>
          <p:grpSpPr>
            <a:xfrm>
              <a:off x="6371318" y="1665298"/>
              <a:ext cx="786918" cy="184666"/>
              <a:chOff x="6328507" y="1665298"/>
              <a:chExt cx="786918" cy="184666"/>
            </a:xfrm>
          </p:grpSpPr>
          <p:sp>
            <p:nvSpPr>
              <p:cNvPr id="50" name="TextBox 49"/>
              <p:cNvSpPr txBox="1"/>
              <p:nvPr/>
            </p:nvSpPr>
            <p:spPr>
              <a:xfrm>
                <a:off x="6581496" y="1665298"/>
                <a:ext cx="533929" cy="184666"/>
              </a:xfrm>
              <a:prstGeom prst="rect">
                <a:avLst/>
              </a:prstGeom>
              <a:noFill/>
            </p:spPr>
            <p:txBody>
              <a:bodyPr wrap="none" lIns="0" tIns="0" rIns="0" bIns="0" rtlCol="0">
                <a:spAutoFit/>
              </a:bodyPr>
              <a:lstStyle/>
              <a:p>
                <a:pPr algn="ctr"/>
                <a:r>
                  <a:rPr lang="en-US" sz="1200" b="1" dirty="0">
                    <a:latin typeface="Garamond" panose="02020404030301010803" pitchFamily="18" charset="0"/>
                  </a:rPr>
                  <a:t>Retiring</a:t>
                </a:r>
              </a:p>
            </p:txBody>
          </p:sp>
          <p:sp>
            <p:nvSpPr>
              <p:cNvPr id="51" name="Isosceles Triangle 50"/>
              <p:cNvSpPr/>
              <p:nvPr/>
            </p:nvSpPr>
            <p:spPr>
              <a:xfrm>
                <a:off x="6328507" y="1665371"/>
                <a:ext cx="184520" cy="184520"/>
              </a:xfrm>
              <a:prstGeom prst="triangl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100" b="1">
                  <a:solidFill>
                    <a:schemeClr val="tx1"/>
                  </a:solidFill>
                  <a:latin typeface="Garamond" panose="02020404030301010803" pitchFamily="18" charset="0"/>
                </a:endParaRPr>
              </a:p>
            </p:txBody>
          </p:sp>
        </p:grpSp>
        <p:grpSp>
          <p:nvGrpSpPr>
            <p:cNvPr id="57" name="Group 56"/>
            <p:cNvGrpSpPr/>
            <p:nvPr/>
          </p:nvGrpSpPr>
          <p:grpSpPr>
            <a:xfrm>
              <a:off x="6371318" y="1399381"/>
              <a:ext cx="758480" cy="184666"/>
              <a:chOff x="6328507" y="1391232"/>
              <a:chExt cx="758480" cy="184666"/>
            </a:xfrm>
          </p:grpSpPr>
          <p:sp>
            <p:nvSpPr>
              <p:cNvPr id="49" name="TextBox 48"/>
              <p:cNvSpPr txBox="1"/>
              <p:nvPr/>
            </p:nvSpPr>
            <p:spPr>
              <a:xfrm>
                <a:off x="6586272" y="1391232"/>
                <a:ext cx="500715" cy="184666"/>
              </a:xfrm>
              <a:prstGeom prst="rect">
                <a:avLst/>
              </a:prstGeom>
              <a:noFill/>
            </p:spPr>
            <p:txBody>
              <a:bodyPr wrap="none" lIns="0" tIns="0" rIns="0" bIns="0" rtlCol="0">
                <a:spAutoFit/>
              </a:bodyPr>
              <a:lstStyle/>
              <a:p>
                <a:pPr algn="ctr"/>
                <a:r>
                  <a:rPr lang="en-US" sz="1200" b="1" dirty="0">
                    <a:latin typeface="Garamond" panose="02020404030301010803" pitchFamily="18" charset="0"/>
                  </a:rPr>
                  <a:t>Catalog</a:t>
                </a:r>
              </a:p>
            </p:txBody>
          </p:sp>
          <p:sp>
            <p:nvSpPr>
              <p:cNvPr id="52" name="Oval 51"/>
              <p:cNvSpPr/>
              <p:nvPr/>
            </p:nvSpPr>
            <p:spPr>
              <a:xfrm>
                <a:off x="6328507" y="1391305"/>
                <a:ext cx="184520" cy="18452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100" b="1">
                  <a:solidFill>
                    <a:schemeClr val="tx1"/>
                  </a:solidFill>
                  <a:latin typeface="Garamond" panose="02020404030301010803" pitchFamily="18" charset="0"/>
                </a:endParaRPr>
              </a:p>
            </p:txBody>
          </p:sp>
        </p:grpSp>
        <p:grpSp>
          <p:nvGrpSpPr>
            <p:cNvPr id="56" name="Group 55"/>
            <p:cNvGrpSpPr/>
            <p:nvPr/>
          </p:nvGrpSpPr>
          <p:grpSpPr>
            <a:xfrm>
              <a:off x="6362994" y="1116962"/>
              <a:ext cx="804025" cy="201168"/>
              <a:chOff x="6320183" y="1116962"/>
              <a:chExt cx="804025" cy="201168"/>
            </a:xfrm>
          </p:grpSpPr>
          <p:sp>
            <p:nvSpPr>
              <p:cNvPr id="48" name="TextBox 47"/>
              <p:cNvSpPr txBox="1"/>
              <p:nvPr/>
            </p:nvSpPr>
            <p:spPr>
              <a:xfrm>
                <a:off x="6588805" y="1125213"/>
                <a:ext cx="535403" cy="184666"/>
              </a:xfrm>
              <a:prstGeom prst="rect">
                <a:avLst/>
              </a:prstGeom>
              <a:noFill/>
            </p:spPr>
            <p:txBody>
              <a:bodyPr wrap="none" lIns="0" tIns="0" rIns="0" bIns="0" rtlCol="0">
                <a:spAutoFit/>
              </a:bodyPr>
              <a:lstStyle/>
              <a:p>
                <a:pPr algn="ctr"/>
                <a:r>
                  <a:rPr lang="en-US" sz="1200" b="1" dirty="0">
                    <a:latin typeface="Garamond" panose="02020404030301010803" pitchFamily="18" charset="0"/>
                  </a:rPr>
                  <a:t>Pipeline</a:t>
                </a:r>
              </a:p>
            </p:txBody>
          </p:sp>
          <p:sp>
            <p:nvSpPr>
              <p:cNvPr id="53" name="Diamond 52"/>
              <p:cNvSpPr>
                <a:spLocks noChangeAspect="1"/>
              </p:cNvSpPr>
              <p:nvPr/>
            </p:nvSpPr>
            <p:spPr>
              <a:xfrm>
                <a:off x="6320183" y="1116962"/>
                <a:ext cx="201168" cy="201168"/>
              </a:xfrm>
              <a:prstGeom prst="diamond">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100" b="1">
                  <a:solidFill>
                    <a:schemeClr val="tx1"/>
                  </a:solidFill>
                  <a:latin typeface="Garamond" panose="02020404030301010803" pitchFamily="18" charset="0"/>
                </a:endParaRPr>
              </a:p>
            </p:txBody>
          </p:sp>
        </p:grpSp>
        <p:sp>
          <p:nvSpPr>
            <p:cNvPr id="64" name="TextBox 63"/>
            <p:cNvSpPr txBox="1"/>
            <p:nvPr/>
          </p:nvSpPr>
          <p:spPr>
            <a:xfrm>
              <a:off x="6167460" y="3915933"/>
              <a:ext cx="1283239" cy="260418"/>
            </a:xfrm>
            <a:prstGeom prst="rect">
              <a:avLst/>
            </a:prstGeom>
            <a:solidFill>
              <a:schemeClr val="tx1"/>
            </a:solidFill>
          </p:spPr>
          <p:txBody>
            <a:bodyPr wrap="square" lIns="0" tIns="0" rIns="0" bIns="0" rtlCol="0" anchor="ctr">
              <a:noAutofit/>
            </a:bodyPr>
            <a:lstStyle/>
            <a:p>
              <a:pPr algn="ctr"/>
              <a:r>
                <a:rPr lang="en-US" sz="1200" b="1" dirty="0">
                  <a:solidFill>
                    <a:schemeClr val="bg1"/>
                  </a:solidFill>
                  <a:latin typeface="Garamond" panose="02020404030301010803" pitchFamily="18" charset="0"/>
                </a:rPr>
                <a:t>Legend</a:t>
              </a:r>
            </a:p>
          </p:txBody>
        </p:sp>
        <p:cxnSp>
          <p:nvCxnSpPr>
            <p:cNvPr id="65" name="Straight Connector 64"/>
            <p:cNvCxnSpPr/>
            <p:nvPr/>
          </p:nvCxnSpPr>
          <p:spPr>
            <a:xfrm>
              <a:off x="6324228" y="2275632"/>
              <a:ext cx="969722" cy="0"/>
            </a:xfrm>
            <a:prstGeom prst="line">
              <a:avLst/>
            </a:prstGeom>
            <a:ln w="12700">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0" name="TextBox 69"/>
            <p:cNvSpPr txBox="1"/>
            <p:nvPr/>
          </p:nvSpPr>
          <p:spPr>
            <a:xfrm>
              <a:off x="5128598" y="3512459"/>
              <a:ext cx="424082" cy="194670"/>
            </a:xfrm>
            <a:prstGeom prst="rect">
              <a:avLst/>
            </a:prstGeom>
            <a:solidFill>
              <a:srgbClr val="FFFFFF">
                <a:alpha val="60000"/>
              </a:srgbClr>
            </a:solidFill>
          </p:spPr>
          <p:txBody>
            <a:bodyPr wrap="none" lIns="9144" tIns="9144" rIns="9144" bIns="9144" rtlCol="0" anchor="ctr">
              <a:spAutoFit/>
            </a:bodyPr>
            <a:lstStyle/>
            <a:p>
              <a:r>
                <a:rPr lang="en-US" sz="1200" b="1" dirty="0">
                  <a:latin typeface="Garamond" panose="02020404030301010803" pitchFamily="18" charset="0"/>
                </a:rPr>
                <a:t>CRM</a:t>
              </a:r>
            </a:p>
          </p:txBody>
        </p:sp>
        <p:sp>
          <p:nvSpPr>
            <p:cNvPr id="71" name="Oval 70"/>
            <p:cNvSpPr/>
            <p:nvPr/>
          </p:nvSpPr>
          <p:spPr>
            <a:xfrm>
              <a:off x="4913196" y="3517534"/>
              <a:ext cx="184520" cy="184520"/>
            </a:xfrm>
            <a:prstGeom prst="ellipse">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100" b="1">
                <a:solidFill>
                  <a:schemeClr val="tx1"/>
                </a:solidFill>
                <a:latin typeface="Garamond" panose="02020404030301010803" pitchFamily="18" charset="0"/>
              </a:endParaRPr>
            </a:p>
          </p:txBody>
        </p:sp>
        <p:sp>
          <p:nvSpPr>
            <p:cNvPr id="72" name="TextBox 71"/>
            <p:cNvSpPr txBox="1"/>
            <p:nvPr/>
          </p:nvSpPr>
          <p:spPr>
            <a:xfrm>
              <a:off x="1740434" y="1476591"/>
              <a:ext cx="925215" cy="194670"/>
            </a:xfrm>
            <a:prstGeom prst="rect">
              <a:avLst/>
            </a:prstGeom>
            <a:solidFill>
              <a:srgbClr val="FFFFFF">
                <a:alpha val="60000"/>
              </a:srgbClr>
            </a:solidFill>
          </p:spPr>
          <p:txBody>
            <a:bodyPr wrap="square" lIns="9144" tIns="9144" rIns="9144" bIns="9144" rtlCol="0" anchor="ctr">
              <a:spAutoFit/>
            </a:bodyPr>
            <a:lstStyle/>
            <a:p>
              <a:r>
                <a:rPr lang="en-US" sz="1200" b="1" dirty="0">
                  <a:latin typeface="Garamond" panose="02020404030301010803" pitchFamily="18" charset="0"/>
                </a:rPr>
                <a:t>Mobile App</a:t>
              </a:r>
            </a:p>
          </p:txBody>
        </p:sp>
        <p:sp>
          <p:nvSpPr>
            <p:cNvPr id="73" name="Oval 72"/>
            <p:cNvSpPr/>
            <p:nvPr/>
          </p:nvSpPr>
          <p:spPr>
            <a:xfrm>
              <a:off x="1425842" y="1439037"/>
              <a:ext cx="290020" cy="290020"/>
            </a:xfrm>
            <a:prstGeom prst="ellipse">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100" b="1">
                <a:solidFill>
                  <a:schemeClr val="tx1"/>
                </a:solidFill>
                <a:latin typeface="Garamond" panose="02020404030301010803" pitchFamily="18" charset="0"/>
              </a:endParaRPr>
            </a:p>
          </p:txBody>
        </p:sp>
        <p:sp>
          <p:nvSpPr>
            <p:cNvPr id="74" name="TextBox 73"/>
            <p:cNvSpPr txBox="1"/>
            <p:nvPr/>
          </p:nvSpPr>
          <p:spPr>
            <a:xfrm>
              <a:off x="4994360" y="1440689"/>
              <a:ext cx="909492" cy="194670"/>
            </a:xfrm>
            <a:prstGeom prst="rect">
              <a:avLst/>
            </a:prstGeom>
            <a:solidFill>
              <a:srgbClr val="FFFFFF">
                <a:alpha val="60000"/>
              </a:srgbClr>
            </a:solidFill>
          </p:spPr>
          <p:txBody>
            <a:bodyPr wrap="none" lIns="9144" tIns="9144" rIns="9144" bIns="9144" rtlCol="0" anchor="ctr">
              <a:spAutoFit/>
            </a:bodyPr>
            <a:lstStyle/>
            <a:p>
              <a:r>
                <a:rPr lang="en-US" sz="1200" b="1" dirty="0">
                  <a:latin typeface="Garamond" panose="02020404030301010803" pitchFamily="18" charset="0"/>
                </a:rPr>
                <a:t>Community</a:t>
              </a:r>
            </a:p>
          </p:txBody>
        </p:sp>
        <p:sp>
          <p:nvSpPr>
            <p:cNvPr id="75" name="Oval 74"/>
            <p:cNvSpPr/>
            <p:nvPr/>
          </p:nvSpPr>
          <p:spPr>
            <a:xfrm>
              <a:off x="4769233" y="1439038"/>
              <a:ext cx="200553" cy="200553"/>
            </a:xfrm>
            <a:prstGeom prst="ellipse">
              <a:avLst/>
            </a:prstGeom>
            <a:solidFill>
              <a:srgbClr val="FF850D"/>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100" b="1">
                <a:solidFill>
                  <a:schemeClr val="tx1"/>
                </a:solidFill>
                <a:latin typeface="Garamond" panose="02020404030301010803" pitchFamily="18" charset="0"/>
              </a:endParaRPr>
            </a:p>
          </p:txBody>
        </p:sp>
        <p:sp>
          <p:nvSpPr>
            <p:cNvPr id="76" name="TextBox 75"/>
            <p:cNvSpPr txBox="1"/>
            <p:nvPr/>
          </p:nvSpPr>
          <p:spPr>
            <a:xfrm>
              <a:off x="3127825" y="1755250"/>
              <a:ext cx="509964" cy="196567"/>
            </a:xfrm>
            <a:prstGeom prst="rect">
              <a:avLst/>
            </a:prstGeom>
            <a:solidFill>
              <a:srgbClr val="FFFFFF">
                <a:alpha val="60000"/>
              </a:srgbClr>
            </a:solidFill>
          </p:spPr>
          <p:txBody>
            <a:bodyPr wrap="square" lIns="9144" tIns="9144" rIns="9144" bIns="9144" rtlCol="0" anchor="ctr">
              <a:spAutoFit/>
            </a:bodyPr>
            <a:lstStyle/>
            <a:p>
              <a:r>
                <a:rPr lang="en-US" sz="1200" b="1" dirty="0">
                  <a:latin typeface="Garamond" panose="02020404030301010803" pitchFamily="18" charset="0"/>
                </a:rPr>
                <a:t>SCM2</a:t>
              </a:r>
            </a:p>
          </p:txBody>
        </p:sp>
        <p:sp>
          <p:nvSpPr>
            <p:cNvPr id="77" name="Diamond 76"/>
            <p:cNvSpPr/>
            <p:nvPr/>
          </p:nvSpPr>
          <p:spPr>
            <a:xfrm>
              <a:off x="2841457" y="1729057"/>
              <a:ext cx="262718" cy="262718"/>
            </a:xfrm>
            <a:prstGeom prst="diamond">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100" b="1">
                <a:solidFill>
                  <a:schemeClr val="tx1"/>
                </a:solidFill>
                <a:latin typeface="Garamond" panose="02020404030301010803" pitchFamily="18" charset="0"/>
              </a:endParaRPr>
            </a:p>
          </p:txBody>
        </p:sp>
        <p:sp>
          <p:nvSpPr>
            <p:cNvPr id="78" name="TextBox 77"/>
            <p:cNvSpPr txBox="1"/>
            <p:nvPr/>
          </p:nvSpPr>
          <p:spPr>
            <a:xfrm>
              <a:off x="1812335" y="3484278"/>
              <a:ext cx="460716" cy="194670"/>
            </a:xfrm>
            <a:prstGeom prst="rect">
              <a:avLst/>
            </a:prstGeom>
            <a:solidFill>
              <a:srgbClr val="FFFFFF">
                <a:alpha val="60000"/>
              </a:srgbClr>
            </a:solidFill>
          </p:spPr>
          <p:txBody>
            <a:bodyPr wrap="none" lIns="9144" tIns="9144" rIns="9144" bIns="9144" rtlCol="0" anchor="ctr">
              <a:spAutoFit/>
            </a:bodyPr>
            <a:lstStyle/>
            <a:p>
              <a:r>
                <a:rPr lang="en-US" sz="1200" b="1" dirty="0">
                  <a:latin typeface="Garamond" panose="02020404030301010803" pitchFamily="18" charset="0"/>
                </a:rPr>
                <a:t>SCM1</a:t>
              </a:r>
            </a:p>
          </p:txBody>
        </p:sp>
        <p:sp>
          <p:nvSpPr>
            <p:cNvPr id="79" name="Isosceles Triangle 78"/>
            <p:cNvSpPr/>
            <p:nvPr/>
          </p:nvSpPr>
          <p:spPr>
            <a:xfrm>
              <a:off x="1418783" y="3394061"/>
              <a:ext cx="375104" cy="375104"/>
            </a:xfrm>
            <a:prstGeom prst="triangle">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100" b="1">
                <a:solidFill>
                  <a:schemeClr val="tx1"/>
                </a:solidFill>
                <a:latin typeface="Garamond" panose="02020404030301010803" pitchFamily="18" charset="0"/>
              </a:endParaRPr>
            </a:p>
          </p:txBody>
        </p:sp>
        <p:sp>
          <p:nvSpPr>
            <p:cNvPr id="80" name="TextBox 79"/>
            <p:cNvSpPr txBox="1"/>
            <p:nvPr/>
          </p:nvSpPr>
          <p:spPr>
            <a:xfrm>
              <a:off x="3943020" y="2756344"/>
              <a:ext cx="749398" cy="194670"/>
            </a:xfrm>
            <a:prstGeom prst="rect">
              <a:avLst/>
            </a:prstGeom>
            <a:solidFill>
              <a:srgbClr val="FFFFFF">
                <a:alpha val="60000"/>
              </a:srgbClr>
            </a:solidFill>
          </p:spPr>
          <p:txBody>
            <a:bodyPr wrap="none" lIns="9144" tIns="9144" rIns="9144" bIns="9144" rtlCol="0" anchor="ctr">
              <a:spAutoFit/>
            </a:bodyPr>
            <a:lstStyle/>
            <a:p>
              <a:r>
                <a:rPr lang="en-US" sz="1200" b="1" dirty="0">
                  <a:latin typeface="Garamond" panose="02020404030301010803" pitchFamily="18" charset="0"/>
                </a:rPr>
                <a:t>www.com</a:t>
              </a:r>
            </a:p>
          </p:txBody>
        </p:sp>
        <p:sp>
          <p:nvSpPr>
            <p:cNvPr id="81" name="Oval 80"/>
            <p:cNvSpPr/>
            <p:nvPr/>
          </p:nvSpPr>
          <p:spPr>
            <a:xfrm>
              <a:off x="3560755" y="2689433"/>
              <a:ext cx="328492" cy="328492"/>
            </a:xfrm>
            <a:prstGeom prst="ellipse">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100" b="1">
                <a:solidFill>
                  <a:schemeClr val="tx1"/>
                </a:solidFill>
                <a:latin typeface="Garamond" panose="02020404030301010803" pitchFamily="18" charset="0"/>
              </a:endParaRPr>
            </a:p>
          </p:txBody>
        </p:sp>
      </p:grpSp>
      <p:pic>
        <p:nvPicPr>
          <p:cNvPr id="25" name="Picture 24"/>
          <p:cNvPicPr>
            <a:picLocks noChangeAspect="1"/>
          </p:cNvPicPr>
          <p:nvPr/>
        </p:nvPicPr>
        <p:blipFill>
          <a:blip r:embed="rId2"/>
          <a:stretch>
            <a:fillRect/>
          </a:stretch>
        </p:blipFill>
        <p:spPr>
          <a:xfrm>
            <a:off x="8138160" y="45720"/>
            <a:ext cx="914400" cy="569121"/>
          </a:xfrm>
          <a:prstGeom prst="rect">
            <a:avLst/>
          </a:prstGeom>
        </p:spPr>
      </p:pic>
    </p:spTree>
    <p:extLst>
      <p:ext uri="{BB962C8B-B14F-4D97-AF65-F5344CB8AC3E}">
        <p14:creationId xmlns:p14="http://schemas.microsoft.com/office/powerpoint/2010/main" val="1006069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siness-Aligned Portfolio</a:t>
            </a:r>
            <a:br>
              <a:rPr lang="en-US" dirty="0"/>
            </a:br>
            <a:r>
              <a:rPr lang="en-US" sz="1600" i="1" dirty="0">
                <a:solidFill>
                  <a:srgbClr val="F26724"/>
                </a:solidFill>
              </a:rPr>
              <a:t>How do you align IT spending and investments with business priorities?</a:t>
            </a:r>
            <a:endParaRPr lang="en-US" dirty="0"/>
          </a:p>
        </p:txBody>
      </p:sp>
      <p:sp>
        <p:nvSpPr>
          <p:cNvPr id="3" name="Text Placeholder 2"/>
          <p:cNvSpPr>
            <a:spLocks noGrp="1"/>
          </p:cNvSpPr>
          <p:nvPr>
            <p:ph type="body" sz="quarter" idx="10"/>
          </p:nvPr>
        </p:nvSpPr>
        <p:spPr>
          <a:xfrm>
            <a:off x="457202" y="914400"/>
            <a:ext cx="3572106" cy="3714750"/>
          </a:xfrm>
        </p:spPr>
        <p:txBody>
          <a:bodyPr>
            <a:normAutofit/>
          </a:bodyPr>
          <a:lstStyle/>
          <a:p>
            <a:pPr>
              <a:spcBef>
                <a:spcPts val="600"/>
              </a:spcBef>
              <a:spcAft>
                <a:spcPts val="1000"/>
              </a:spcAft>
            </a:pPr>
            <a:r>
              <a:rPr lang="en-US" dirty="0"/>
              <a:t>TIME vs. Project Purpose reveals investment portfolio alignment</a:t>
            </a:r>
          </a:p>
          <a:p>
            <a:pPr>
              <a:spcBef>
                <a:spcPts val="600"/>
              </a:spcBef>
              <a:spcAft>
                <a:spcPts val="1000"/>
              </a:spcAft>
            </a:pPr>
            <a:r>
              <a:rPr lang="en-US" dirty="0"/>
              <a:t>Leverage TIME or similar model for apps and services</a:t>
            </a:r>
          </a:p>
          <a:p>
            <a:pPr>
              <a:spcBef>
                <a:spcPts val="600"/>
              </a:spcBef>
              <a:spcAft>
                <a:spcPts val="1000"/>
              </a:spcAft>
            </a:pPr>
            <a:r>
              <a:rPr lang="en-US" dirty="0"/>
              <a:t>Classify projects by outcome (e.g., New, Enhance, Maintain, Replace)</a:t>
            </a:r>
          </a:p>
        </p:txBody>
      </p:sp>
      <p:pic>
        <p:nvPicPr>
          <p:cNvPr id="4" name="Picture 3"/>
          <p:cNvPicPr/>
          <p:nvPr/>
        </p:nvPicPr>
        <p:blipFill>
          <a:blip r:embed="rId2">
            <a:extLst>
              <a:ext uri="{28A0092B-C50C-407E-A947-70E740481C1C}">
                <a14:useLocalDpi xmlns:a14="http://schemas.microsoft.com/office/drawing/2010/main" val="0"/>
              </a:ext>
            </a:extLst>
          </a:blip>
          <a:srcRect/>
          <a:stretch>
            <a:fillRect/>
          </a:stretch>
        </p:blipFill>
        <p:spPr bwMode="auto">
          <a:xfrm>
            <a:off x="4433356" y="912177"/>
            <a:ext cx="4253447" cy="3765713"/>
          </a:xfrm>
          <a:prstGeom prst="rect">
            <a:avLst/>
          </a:prstGeom>
          <a:noFill/>
          <a:ln>
            <a:noFill/>
          </a:ln>
        </p:spPr>
      </p:pic>
      <p:pic>
        <p:nvPicPr>
          <p:cNvPr id="5" name="Picture 4"/>
          <p:cNvPicPr>
            <a:picLocks noChangeAspect="1"/>
          </p:cNvPicPr>
          <p:nvPr/>
        </p:nvPicPr>
        <p:blipFill>
          <a:blip r:embed="rId3"/>
          <a:stretch>
            <a:fillRect/>
          </a:stretch>
        </p:blipFill>
        <p:spPr>
          <a:xfrm>
            <a:off x="8138160" y="45720"/>
            <a:ext cx="914400" cy="569121"/>
          </a:xfrm>
          <a:prstGeom prst="rect">
            <a:avLst/>
          </a:prstGeom>
        </p:spPr>
      </p:pic>
    </p:spTree>
    <p:extLst>
      <p:ext uri="{BB962C8B-B14F-4D97-AF65-F5344CB8AC3E}">
        <p14:creationId xmlns:p14="http://schemas.microsoft.com/office/powerpoint/2010/main" val="2913503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6538334" y="1129990"/>
            <a:ext cx="2148468" cy="899532"/>
          </a:xfrm>
          <a:prstGeom prst="roundRect">
            <a:avLst/>
          </a:prstGeom>
          <a:solidFill>
            <a:schemeClr val="accent3"/>
          </a:solidFill>
        </p:spPr>
        <p:txBody>
          <a:bodyPr wrap="square" rtlCol="0" anchor="ctr">
            <a:noAutofit/>
          </a:bodyPr>
          <a:lstStyle/>
          <a:p>
            <a:pPr algn="ctr"/>
            <a:r>
              <a:rPr lang="en-US" dirty="0">
                <a:solidFill>
                  <a:schemeClr val="bg1"/>
                </a:solidFill>
                <a:latin typeface="+mn-lt"/>
              </a:rPr>
              <a:t>Services</a:t>
            </a:r>
          </a:p>
        </p:txBody>
      </p:sp>
      <p:sp>
        <p:nvSpPr>
          <p:cNvPr id="6" name="Right Arrow 5"/>
          <p:cNvSpPr/>
          <p:nvPr/>
        </p:nvSpPr>
        <p:spPr>
          <a:xfrm>
            <a:off x="2549912" y="1226634"/>
            <a:ext cx="4096215" cy="706244"/>
          </a:xfrm>
          <a:prstGeom prst="rightArrow">
            <a:avLst/>
          </a:prstGeom>
          <a:solidFill>
            <a:schemeClr val="accent4">
              <a:lumMod val="75000"/>
            </a:schemeClr>
          </a:solidFill>
        </p:spPr>
        <p:txBody>
          <a:bodyPr wrap="square" rtlCol="0" anchor="ctr">
            <a:noAutofit/>
          </a:bodyPr>
          <a:lstStyle/>
          <a:p>
            <a:pPr algn="ctr"/>
            <a:r>
              <a:rPr lang="en-US" sz="1400" dirty="0">
                <a:solidFill>
                  <a:schemeClr val="bg1"/>
                </a:solidFill>
                <a:latin typeface="+mn-lt"/>
              </a:rPr>
              <a:t>…shifting focus to…</a:t>
            </a:r>
          </a:p>
        </p:txBody>
      </p:sp>
      <p:sp>
        <p:nvSpPr>
          <p:cNvPr id="2" name="Title 1"/>
          <p:cNvSpPr>
            <a:spLocks noGrp="1"/>
          </p:cNvSpPr>
          <p:nvPr>
            <p:ph type="title"/>
          </p:nvPr>
        </p:nvSpPr>
        <p:spPr/>
        <p:txBody>
          <a:bodyPr/>
          <a:lstStyle/>
          <a:p>
            <a:r>
              <a:rPr lang="en-US" dirty="0"/>
              <a:t>Investing in Innovation</a:t>
            </a:r>
            <a:br>
              <a:rPr lang="en-US" dirty="0"/>
            </a:br>
            <a:r>
              <a:rPr lang="en-US" sz="1600" dirty="0">
                <a:solidFill>
                  <a:schemeClr val="accent4"/>
                </a:solidFill>
              </a:rPr>
              <a:t>How do you get more value from your innovation investments?</a:t>
            </a:r>
            <a:endParaRPr lang="en-US" dirty="0">
              <a:solidFill>
                <a:schemeClr val="accent4"/>
              </a:solidFill>
            </a:endParaRPr>
          </a:p>
        </p:txBody>
      </p:sp>
      <p:sp>
        <p:nvSpPr>
          <p:cNvPr id="4" name="Rounded Rectangle 3"/>
          <p:cNvSpPr/>
          <p:nvPr/>
        </p:nvSpPr>
        <p:spPr>
          <a:xfrm>
            <a:off x="535259" y="1129990"/>
            <a:ext cx="2148468" cy="899532"/>
          </a:xfrm>
          <a:prstGeom prst="roundRect">
            <a:avLst/>
          </a:prstGeom>
          <a:solidFill>
            <a:schemeClr val="accent5">
              <a:lumMod val="75000"/>
            </a:schemeClr>
          </a:solidFill>
        </p:spPr>
        <p:txBody>
          <a:bodyPr wrap="square" rtlCol="0" anchor="ctr">
            <a:noAutofit/>
          </a:bodyPr>
          <a:lstStyle/>
          <a:p>
            <a:pPr algn="ctr"/>
            <a:r>
              <a:rPr lang="en-US" dirty="0">
                <a:solidFill>
                  <a:schemeClr val="bg1"/>
                </a:solidFill>
                <a:latin typeface="+mn-lt"/>
              </a:rPr>
              <a:t>Projects</a:t>
            </a:r>
          </a:p>
        </p:txBody>
      </p:sp>
      <p:sp>
        <p:nvSpPr>
          <p:cNvPr id="7" name="Text Placeholder 2"/>
          <p:cNvSpPr>
            <a:spLocks noGrp="1"/>
          </p:cNvSpPr>
          <p:nvPr>
            <p:ph type="body" sz="quarter" idx="10"/>
          </p:nvPr>
        </p:nvSpPr>
        <p:spPr>
          <a:xfrm>
            <a:off x="457202" y="2178204"/>
            <a:ext cx="3572106" cy="2450945"/>
          </a:xfrm>
        </p:spPr>
        <p:txBody>
          <a:bodyPr>
            <a:normAutofit/>
          </a:bodyPr>
          <a:lstStyle/>
          <a:p>
            <a:pPr>
              <a:spcBef>
                <a:spcPts val="600"/>
              </a:spcBef>
              <a:spcAft>
                <a:spcPts val="1000"/>
              </a:spcAft>
            </a:pPr>
            <a:r>
              <a:rPr lang="en-US" sz="1800" dirty="0"/>
              <a:t>Waterfall approach is waning in favor of agile development, which frustrates ITFM practices</a:t>
            </a:r>
          </a:p>
          <a:p>
            <a:pPr>
              <a:spcBef>
                <a:spcPts val="600"/>
              </a:spcBef>
              <a:spcAft>
                <a:spcPts val="1000"/>
              </a:spcAft>
            </a:pPr>
            <a:r>
              <a:rPr lang="en-US" sz="1800" dirty="0"/>
              <a:t>Up-front time and cost estimates are impractical, often inaccurate</a:t>
            </a:r>
          </a:p>
          <a:p>
            <a:pPr>
              <a:spcBef>
                <a:spcPts val="600"/>
              </a:spcBef>
              <a:spcAft>
                <a:spcPts val="1000"/>
              </a:spcAft>
            </a:pPr>
            <a:r>
              <a:rPr lang="en-US" sz="1800" dirty="0"/>
              <a:t>Projects are only a small part of your spending on services</a:t>
            </a:r>
          </a:p>
        </p:txBody>
      </p:sp>
      <p:sp>
        <p:nvSpPr>
          <p:cNvPr id="8" name="Text Placeholder 2"/>
          <p:cNvSpPr txBox="1">
            <a:spLocks/>
          </p:cNvSpPr>
          <p:nvPr/>
        </p:nvSpPr>
        <p:spPr>
          <a:xfrm>
            <a:off x="4564566" y="2178203"/>
            <a:ext cx="4122236" cy="2450945"/>
          </a:xfrm>
          <a:prstGeom prst="rect">
            <a:avLst/>
          </a:prstGeom>
        </p:spPr>
        <p:txBody>
          <a:bodyPr vert="horz" lIns="0" tIns="0" rIns="0" bIns="0" rtlCol="0">
            <a:normAutofit/>
          </a:bodyPr>
          <a:lstStyle>
            <a:lvl1pPr marL="274320" indent="-274320" algn="l" defTabSz="913708" rtl="0" eaLnBrk="1" latinLnBrk="0" hangingPunct="1">
              <a:spcBef>
                <a:spcPct val="20000"/>
              </a:spcBef>
              <a:buClr>
                <a:schemeClr val="accent1"/>
              </a:buClr>
              <a:buSzPct val="80000"/>
              <a:buFont typeface="Wingdings 3" panose="05040102010807070707" pitchFamily="18" charset="2"/>
              <a:buChar char=""/>
              <a:defRPr lang="en-US" sz="2100" b="0" kern="1200" dirty="0" smtClean="0">
                <a:solidFill>
                  <a:schemeClr val="tx1"/>
                </a:solidFill>
                <a:latin typeface="+mn-lt"/>
                <a:ea typeface="+mn-ea"/>
                <a:cs typeface="+mn-cs"/>
              </a:defRPr>
            </a:lvl1pPr>
            <a:lvl2pPr marL="574675" indent="-228600" algn="l" defTabSz="913708" rtl="0" eaLnBrk="1" latinLnBrk="0" hangingPunct="1">
              <a:spcBef>
                <a:spcPct val="20000"/>
              </a:spcBef>
              <a:buClrTx/>
              <a:buFont typeface="Wingdings" panose="05000000000000000000" pitchFamily="2" charset="2"/>
              <a:buChar char="§"/>
              <a:defRPr lang="en-US" sz="1800" b="0" kern="1200" dirty="0" smtClean="0">
                <a:solidFill>
                  <a:schemeClr val="tx1"/>
                </a:solidFill>
                <a:latin typeface="+mn-lt"/>
                <a:ea typeface="+mn-ea"/>
                <a:cs typeface="+mn-cs"/>
              </a:defRPr>
            </a:lvl2pPr>
            <a:lvl3pPr marL="766763" indent="-176213" algn="l" defTabSz="913708" rtl="0" eaLnBrk="1" latinLnBrk="0" hangingPunct="1">
              <a:spcBef>
                <a:spcPct val="20000"/>
              </a:spcBef>
              <a:buClrTx/>
              <a:buFont typeface="Wingdings" panose="05000000000000000000" pitchFamily="2" charset="2"/>
              <a:buChar char="§"/>
              <a:defRPr lang="en-US" sz="1500" b="0" kern="1200" dirty="0" smtClean="0">
                <a:solidFill>
                  <a:schemeClr val="tx1"/>
                </a:solidFill>
                <a:latin typeface="+mn-lt"/>
                <a:ea typeface="+mn-ea"/>
                <a:cs typeface="+mn-cs"/>
              </a:defRPr>
            </a:lvl3pPr>
            <a:lvl4pPr marL="973138" indent="-153988" algn="l" defTabSz="913708" rtl="0" eaLnBrk="1" latinLnBrk="0" hangingPunct="1">
              <a:spcBef>
                <a:spcPct val="20000"/>
              </a:spcBef>
              <a:buClrTx/>
              <a:buFont typeface="Wingdings" panose="05000000000000000000" pitchFamily="2" charset="2"/>
              <a:buChar char="§"/>
              <a:defRPr lang="en-US" sz="1350" b="0" kern="1200" dirty="0" smtClean="0">
                <a:solidFill>
                  <a:schemeClr val="tx1"/>
                </a:solidFill>
                <a:latin typeface="+mn-lt"/>
                <a:ea typeface="+mn-ea"/>
                <a:cs typeface="+mn-cs"/>
              </a:defRPr>
            </a:lvl4pPr>
            <a:lvl5pPr marL="1143000" indent="-125413" algn="l" defTabSz="913708" rtl="0" eaLnBrk="1" latinLnBrk="0" hangingPunct="1">
              <a:spcBef>
                <a:spcPct val="20000"/>
              </a:spcBef>
              <a:buClrTx/>
              <a:buFont typeface="Wingdings" panose="05000000000000000000" pitchFamily="2" charset="2"/>
              <a:buChar char="§"/>
              <a:defRPr lang="en-US" sz="1350" b="0" kern="1200" dirty="0">
                <a:solidFill>
                  <a:schemeClr val="tx1"/>
                </a:solidFill>
                <a:latin typeface="+mn-lt"/>
                <a:ea typeface="+mn-ea"/>
                <a:cs typeface="+mn-cs"/>
              </a:defRPr>
            </a:lvl5pPr>
            <a:lvl6pPr marL="2512691" indent="-228434" algn="l" defTabSz="913708" rtl="0" eaLnBrk="1" latinLnBrk="0" hangingPunct="1">
              <a:spcBef>
                <a:spcPct val="20000"/>
              </a:spcBef>
              <a:buFont typeface="+mj-lt"/>
              <a:buChar char="•"/>
              <a:defRPr sz="2025" kern="1200">
                <a:solidFill>
                  <a:schemeClr val="tx1"/>
                </a:solidFill>
                <a:latin typeface="+mn-lt"/>
                <a:ea typeface="+mn-ea"/>
                <a:cs typeface="+mn-cs"/>
              </a:defRPr>
            </a:lvl6pPr>
            <a:lvl7pPr marL="2969546" indent="-228434" algn="l" defTabSz="913708" rtl="0" eaLnBrk="1" latinLnBrk="0" hangingPunct="1">
              <a:spcBef>
                <a:spcPct val="20000"/>
              </a:spcBef>
              <a:buFont typeface="+mj-lt"/>
              <a:buChar char="•"/>
              <a:defRPr sz="2025" kern="1200">
                <a:solidFill>
                  <a:schemeClr val="tx1"/>
                </a:solidFill>
                <a:latin typeface="+mn-lt"/>
                <a:ea typeface="+mn-ea"/>
                <a:cs typeface="+mn-cs"/>
              </a:defRPr>
            </a:lvl7pPr>
            <a:lvl8pPr marL="3426398" indent="-228434" algn="l" defTabSz="913708" rtl="0" eaLnBrk="1" latinLnBrk="0" hangingPunct="1">
              <a:spcBef>
                <a:spcPct val="20000"/>
              </a:spcBef>
              <a:buFont typeface="+mj-lt"/>
              <a:buChar char="•"/>
              <a:defRPr sz="2025" kern="1200">
                <a:solidFill>
                  <a:schemeClr val="tx1"/>
                </a:solidFill>
                <a:latin typeface="+mn-lt"/>
                <a:ea typeface="+mn-ea"/>
                <a:cs typeface="+mn-cs"/>
              </a:defRPr>
            </a:lvl8pPr>
            <a:lvl9pPr marL="3883253" indent="-228434" algn="l" defTabSz="913708" rtl="0" eaLnBrk="1" latinLnBrk="0" hangingPunct="1">
              <a:spcBef>
                <a:spcPct val="20000"/>
              </a:spcBef>
              <a:buFont typeface="+mj-lt"/>
              <a:buChar char="•"/>
              <a:defRPr sz="2025" kern="1200">
                <a:solidFill>
                  <a:schemeClr val="tx1"/>
                </a:solidFill>
                <a:latin typeface="+mn-lt"/>
                <a:ea typeface="+mn-ea"/>
                <a:cs typeface="+mn-cs"/>
              </a:defRPr>
            </a:lvl9pPr>
          </a:lstStyle>
          <a:p>
            <a:pPr fontAlgn="auto">
              <a:spcBef>
                <a:spcPts val="600"/>
              </a:spcBef>
              <a:spcAft>
                <a:spcPts val="1000"/>
              </a:spcAft>
            </a:pPr>
            <a:r>
              <a:rPr lang="en-US" sz="1800" dirty="0"/>
              <a:t>Service funding models allow stable teams (6 months to 1+ years)</a:t>
            </a:r>
          </a:p>
          <a:p>
            <a:pPr fontAlgn="auto">
              <a:spcBef>
                <a:spcPts val="600"/>
              </a:spcBef>
              <a:spcAft>
                <a:spcPts val="1000"/>
              </a:spcAft>
            </a:pPr>
            <a:r>
              <a:rPr lang="en-US" sz="1800" dirty="0"/>
              <a:t>Service orientation is better equipped for DevOps and </a:t>
            </a:r>
            <a:r>
              <a:rPr lang="en-US" sz="1800" i="1" dirty="0"/>
              <a:t>spiral-into-accuracy</a:t>
            </a:r>
            <a:r>
              <a:rPr lang="en-US" sz="1800" dirty="0"/>
              <a:t> Agile software development</a:t>
            </a:r>
          </a:p>
          <a:p>
            <a:pPr fontAlgn="auto">
              <a:spcBef>
                <a:spcPts val="600"/>
              </a:spcBef>
              <a:spcAft>
                <a:spcPts val="1000"/>
              </a:spcAft>
            </a:pPr>
            <a:r>
              <a:rPr lang="en-US" sz="1800" dirty="0"/>
              <a:t>Services connote value and support more effective portfolio management</a:t>
            </a:r>
          </a:p>
        </p:txBody>
      </p:sp>
      <p:pic>
        <p:nvPicPr>
          <p:cNvPr id="9" name="Picture 8"/>
          <p:cNvPicPr>
            <a:picLocks noChangeAspect="1"/>
          </p:cNvPicPr>
          <p:nvPr/>
        </p:nvPicPr>
        <p:blipFill>
          <a:blip r:embed="rId2"/>
          <a:stretch>
            <a:fillRect/>
          </a:stretch>
        </p:blipFill>
        <p:spPr>
          <a:xfrm>
            <a:off x="8138160" y="45720"/>
            <a:ext cx="914400" cy="569121"/>
          </a:xfrm>
          <a:prstGeom prst="rect">
            <a:avLst/>
          </a:prstGeom>
        </p:spPr>
      </p:pic>
    </p:spTree>
    <p:extLst>
      <p:ext uri="{BB962C8B-B14F-4D97-AF65-F5344CB8AC3E}">
        <p14:creationId xmlns:p14="http://schemas.microsoft.com/office/powerpoint/2010/main" val="379905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8"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vesting in Innovation</a:t>
            </a:r>
            <a:br>
              <a:rPr lang="en-US" dirty="0"/>
            </a:br>
            <a:r>
              <a:rPr lang="en-US" sz="1800" dirty="0">
                <a:solidFill>
                  <a:schemeClr val="accent4"/>
                </a:solidFill>
              </a:rPr>
              <a:t>Protecting Program Funds</a:t>
            </a:r>
            <a:endParaRPr lang="en-US" dirty="0">
              <a:solidFill>
                <a:schemeClr val="accent4"/>
              </a:solidFill>
            </a:endParaRPr>
          </a:p>
        </p:txBody>
      </p:sp>
      <p:graphicFrame>
        <p:nvGraphicFramePr>
          <p:cNvPr id="6" name="Chart 5"/>
          <p:cNvGraphicFramePr/>
          <p:nvPr>
            <p:extLst/>
          </p:nvPr>
        </p:nvGraphicFramePr>
        <p:xfrm>
          <a:off x="88106" y="1014412"/>
          <a:ext cx="3940969" cy="3493291"/>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957264" y="4507704"/>
            <a:ext cx="2279840" cy="307777"/>
          </a:xfrm>
          <a:prstGeom prst="rect">
            <a:avLst/>
          </a:prstGeom>
          <a:noFill/>
        </p:spPr>
        <p:txBody>
          <a:bodyPr wrap="square" rtlCol="0">
            <a:spAutoFit/>
          </a:bodyPr>
          <a:lstStyle/>
          <a:p>
            <a:pPr algn="ctr"/>
            <a:r>
              <a:rPr lang="en-US" sz="1400" b="1" dirty="0">
                <a:latin typeface="Garamond" panose="02020404030301010803" pitchFamily="18" charset="0"/>
              </a:rPr>
              <a:t>Comingled Funds</a:t>
            </a:r>
          </a:p>
        </p:txBody>
      </p:sp>
      <p:grpSp>
        <p:nvGrpSpPr>
          <p:cNvPr id="5" name="Group 4"/>
          <p:cNvGrpSpPr/>
          <p:nvPr/>
        </p:nvGrpSpPr>
        <p:grpSpPr>
          <a:xfrm>
            <a:off x="3593770" y="104078"/>
            <a:ext cx="5330172" cy="4714146"/>
            <a:chOff x="3593770" y="104078"/>
            <a:chExt cx="5330172" cy="4714146"/>
          </a:xfrm>
        </p:grpSpPr>
        <p:sp>
          <p:nvSpPr>
            <p:cNvPr id="11" name="Isosceles Triangle 10"/>
            <p:cNvSpPr/>
            <p:nvPr/>
          </p:nvSpPr>
          <p:spPr>
            <a:xfrm rot="7648326">
              <a:off x="5486564" y="1731793"/>
              <a:ext cx="514350" cy="164306"/>
            </a:xfrm>
            <a:prstGeom prst="triangle">
              <a:avLst/>
            </a:prstGeom>
            <a:solidFill>
              <a:schemeClr val="tx1"/>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13" name="Straight Connector 12"/>
            <p:cNvCxnSpPr/>
            <p:nvPr/>
          </p:nvCxnSpPr>
          <p:spPr>
            <a:xfrm>
              <a:off x="4029075" y="895491"/>
              <a:ext cx="0" cy="3922733"/>
            </a:xfrm>
            <a:prstGeom prst="line">
              <a:avLst/>
            </a:prstGeom>
            <a:ln>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4" name="TextBox 13"/>
            <p:cNvSpPr txBox="1"/>
            <p:nvPr/>
          </p:nvSpPr>
          <p:spPr>
            <a:xfrm>
              <a:off x="3593770" y="2582571"/>
              <a:ext cx="865943" cy="400110"/>
            </a:xfrm>
            <a:prstGeom prst="rect">
              <a:avLst/>
            </a:prstGeom>
            <a:solidFill>
              <a:srgbClr val="FFFFFF"/>
            </a:solidFill>
          </p:spPr>
          <p:txBody>
            <a:bodyPr wrap="none" rtlCol="0">
              <a:spAutoFit/>
            </a:bodyPr>
            <a:lstStyle/>
            <a:p>
              <a:pPr algn="ctr"/>
              <a:r>
                <a:rPr lang="en-US" sz="2000" b="1" i="1" dirty="0">
                  <a:latin typeface="Garamond" panose="02020404030301010803" pitchFamily="18" charset="0"/>
                </a:rPr>
                <a:t>versus</a:t>
              </a:r>
            </a:p>
          </p:txBody>
        </p:sp>
        <p:sp>
          <p:nvSpPr>
            <p:cNvPr id="15" name="TextBox 14"/>
            <p:cNvSpPr txBox="1"/>
            <p:nvPr/>
          </p:nvSpPr>
          <p:spPr>
            <a:xfrm>
              <a:off x="5601473" y="4507704"/>
              <a:ext cx="2874615" cy="307777"/>
            </a:xfrm>
            <a:prstGeom prst="rect">
              <a:avLst/>
            </a:prstGeom>
            <a:noFill/>
          </p:spPr>
          <p:txBody>
            <a:bodyPr wrap="square" rtlCol="0">
              <a:spAutoFit/>
            </a:bodyPr>
            <a:lstStyle/>
            <a:p>
              <a:pPr algn="ctr"/>
              <a:r>
                <a:rPr lang="en-US" sz="1400" b="1" dirty="0">
                  <a:latin typeface="Garamond" panose="02020404030301010803" pitchFamily="18" charset="0"/>
                </a:rPr>
                <a:t>Run/Grow/Transform IT Funding</a:t>
              </a:r>
            </a:p>
          </p:txBody>
        </p:sp>
        <p:graphicFrame>
          <p:nvGraphicFramePr>
            <p:cNvPr id="8" name="Chart 7"/>
            <p:cNvGraphicFramePr/>
            <p:nvPr>
              <p:extLst>
                <p:ext uri="{D42A27DB-BD31-4B8C-83A1-F6EECF244321}">
                  <p14:modId xmlns:p14="http://schemas.microsoft.com/office/powerpoint/2010/main" val="3671871213"/>
                </p:ext>
              </p:extLst>
            </p:nvPr>
          </p:nvGraphicFramePr>
          <p:xfrm>
            <a:off x="3746810" y="104078"/>
            <a:ext cx="2423532" cy="21821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p:cNvGraphicFramePr/>
            <p:nvPr>
              <p:extLst>
                <p:ext uri="{D42A27DB-BD31-4B8C-83A1-F6EECF244321}">
                  <p14:modId xmlns:p14="http://schemas.microsoft.com/office/powerpoint/2010/main" val="2261168213"/>
                </p:ext>
              </p:extLst>
            </p:nvPr>
          </p:nvGraphicFramePr>
          <p:xfrm>
            <a:off x="5170836" y="1193006"/>
            <a:ext cx="3753106" cy="3567907"/>
          </p:xfrm>
          <a:graphic>
            <a:graphicData uri="http://schemas.openxmlformats.org/drawingml/2006/chart">
              <c:chart xmlns:c="http://schemas.openxmlformats.org/drawingml/2006/chart" xmlns:r="http://schemas.openxmlformats.org/officeDocument/2006/relationships" r:id="rId4"/>
            </a:graphicData>
          </a:graphic>
        </p:graphicFrame>
        <p:sp>
          <p:nvSpPr>
            <p:cNvPr id="16" name="Rectangle 15"/>
            <p:cNvSpPr/>
            <p:nvPr/>
          </p:nvSpPr>
          <p:spPr>
            <a:xfrm>
              <a:off x="5521474" y="369583"/>
              <a:ext cx="1721946" cy="477054"/>
            </a:xfrm>
            <a:prstGeom prst="rect">
              <a:avLst/>
            </a:prstGeom>
          </p:spPr>
          <p:txBody>
            <a:bodyPr wrap="none">
              <a:spAutoFit/>
            </a:bodyPr>
            <a:lstStyle/>
            <a:p>
              <a:r>
                <a:rPr lang="en-US" sz="1400" b="1" dirty="0">
                  <a:latin typeface="Garamond" panose="02020404030301010803" pitchFamily="18" charset="0"/>
                </a:rPr>
                <a:t>Innovation Program</a:t>
              </a:r>
            </a:p>
            <a:p>
              <a:r>
                <a:rPr lang="en-US" sz="1100" b="1" dirty="0">
                  <a:latin typeface="Garamond" panose="02020404030301010803" pitchFamily="18" charset="0"/>
                </a:rPr>
                <a:t>  (by Business Capability)</a:t>
              </a:r>
              <a:endParaRPr lang="en-US" sz="1100" b="1" dirty="0"/>
            </a:p>
          </p:txBody>
        </p:sp>
        <p:sp>
          <p:nvSpPr>
            <p:cNvPr id="3" name="TextBox 2"/>
            <p:cNvSpPr txBox="1"/>
            <p:nvPr/>
          </p:nvSpPr>
          <p:spPr>
            <a:xfrm>
              <a:off x="4117740" y="2966227"/>
              <a:ext cx="1398394" cy="1615827"/>
            </a:xfrm>
            <a:prstGeom prst="rect">
              <a:avLst/>
            </a:prstGeom>
            <a:noFill/>
          </p:spPr>
          <p:txBody>
            <a:bodyPr wrap="square" lIns="45720" rIns="45720" rtlCol="0">
              <a:spAutoFit/>
            </a:bodyPr>
            <a:lstStyle/>
            <a:p>
              <a:r>
                <a:rPr lang="en-US" sz="1100" dirty="0">
                  <a:latin typeface="Garamond" panose="02020404030301010803" pitchFamily="18" charset="0"/>
                </a:rPr>
                <a:t>In this model, the innovation fund that covers both IT and non-IT resources is set aside. As new services or enhancements are introduced, they roll into the standard funding model.</a:t>
              </a:r>
            </a:p>
          </p:txBody>
        </p:sp>
      </p:grpSp>
      <p:pic>
        <p:nvPicPr>
          <p:cNvPr id="17" name="Picture 16"/>
          <p:cNvPicPr>
            <a:picLocks noChangeAspect="1"/>
          </p:cNvPicPr>
          <p:nvPr/>
        </p:nvPicPr>
        <p:blipFill>
          <a:blip r:embed="rId5"/>
          <a:stretch>
            <a:fillRect/>
          </a:stretch>
        </p:blipFill>
        <p:spPr>
          <a:xfrm>
            <a:off x="8138160" y="45720"/>
            <a:ext cx="914400" cy="569121"/>
          </a:xfrm>
          <a:prstGeom prst="rect">
            <a:avLst/>
          </a:prstGeom>
        </p:spPr>
      </p:pic>
    </p:spTree>
    <p:extLst>
      <p:ext uri="{BB962C8B-B14F-4D97-AF65-F5344CB8AC3E}">
        <p14:creationId xmlns:p14="http://schemas.microsoft.com/office/powerpoint/2010/main" val="2283863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nterprise Agility</a:t>
            </a:r>
            <a:br>
              <a:rPr lang="en-US" dirty="0"/>
            </a:br>
            <a:r>
              <a:rPr lang="en-US" sz="1600" i="1" dirty="0">
                <a:solidFill>
                  <a:schemeClr val="accent4"/>
                </a:solidFill>
              </a:rPr>
              <a:t>How do you improve speed-to-market and responsiveness to new demands?</a:t>
            </a:r>
            <a:endParaRPr lang="en-US" i="1" dirty="0">
              <a:solidFill>
                <a:schemeClr val="accent4"/>
              </a:solidFill>
            </a:endParaRPr>
          </a:p>
        </p:txBody>
      </p:sp>
      <p:grpSp>
        <p:nvGrpSpPr>
          <p:cNvPr id="11" name="Group 10"/>
          <p:cNvGrpSpPr/>
          <p:nvPr/>
        </p:nvGrpSpPr>
        <p:grpSpPr>
          <a:xfrm>
            <a:off x="0" y="773150"/>
            <a:ext cx="9144000" cy="2111297"/>
            <a:chOff x="0" y="773150"/>
            <a:chExt cx="9144000" cy="2111297"/>
          </a:xfrm>
        </p:grpSpPr>
        <p:sp>
          <p:nvSpPr>
            <p:cNvPr id="5" name="Rectangle 4"/>
            <p:cNvSpPr/>
            <p:nvPr/>
          </p:nvSpPr>
          <p:spPr>
            <a:xfrm>
              <a:off x="0" y="773150"/>
              <a:ext cx="9144000" cy="2111297"/>
            </a:xfrm>
            <a:prstGeom prst="rect">
              <a:avLst/>
            </a:prstGeom>
            <a:solidFill>
              <a:schemeClr val="accent3"/>
            </a:solidFill>
          </p:spPr>
          <p:txBody>
            <a:bodyPr wrap="square" rtlCol="0" anchor="ctr">
              <a:noAutofit/>
            </a:bodyPr>
            <a:lstStyle/>
            <a:p>
              <a:pPr algn="ctr"/>
              <a:endParaRPr lang="en-US" dirty="0" err="1">
                <a:solidFill>
                  <a:schemeClr val="bg1"/>
                </a:solidFill>
                <a:latin typeface="+mn-lt"/>
              </a:endParaRPr>
            </a:p>
          </p:txBody>
        </p:sp>
        <p:pic>
          <p:nvPicPr>
            <p:cNvPr id="3" name="Picture 2"/>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82138" y="908295"/>
              <a:ext cx="4389862" cy="1841006"/>
            </a:xfrm>
            <a:prstGeom prst="rect">
              <a:avLst/>
            </a:prstGeom>
            <a:noFill/>
            <a:ln>
              <a:noFill/>
            </a:ln>
          </p:spPr>
        </p:pic>
        <p:sp>
          <p:nvSpPr>
            <p:cNvPr id="8" name="Text Placeholder 2"/>
            <p:cNvSpPr txBox="1">
              <a:spLocks/>
            </p:cNvSpPr>
            <p:nvPr/>
          </p:nvSpPr>
          <p:spPr>
            <a:xfrm>
              <a:off x="4572000" y="809658"/>
              <a:ext cx="4505093" cy="2023418"/>
            </a:xfrm>
            <a:prstGeom prst="rect">
              <a:avLst/>
            </a:prstGeom>
          </p:spPr>
          <p:txBody>
            <a:bodyPr anchor="ctr">
              <a:noAutofit/>
            </a:bodyPr>
            <a:lstStyle>
              <a:lvl1pPr marL="274320" indent="-274320" algn="l" defTabSz="913708" rtl="0" eaLnBrk="1" latinLnBrk="0" hangingPunct="1">
                <a:spcBef>
                  <a:spcPct val="20000"/>
                </a:spcBef>
                <a:buClr>
                  <a:schemeClr val="accent1"/>
                </a:buClr>
                <a:buSzPct val="80000"/>
                <a:buFont typeface="Wingdings 3" panose="05040102010807070707" pitchFamily="18" charset="2"/>
                <a:buChar char=""/>
                <a:defRPr lang="en-US" sz="2100" b="0" kern="1200" dirty="0" smtClean="0">
                  <a:solidFill>
                    <a:schemeClr val="tx1"/>
                  </a:solidFill>
                  <a:latin typeface="+mn-lt"/>
                  <a:ea typeface="+mn-ea"/>
                  <a:cs typeface="+mn-cs"/>
                </a:defRPr>
              </a:lvl1pPr>
              <a:lvl2pPr marL="574675" indent="-228600" algn="l" defTabSz="913708" rtl="0" eaLnBrk="1" latinLnBrk="0" hangingPunct="1">
                <a:spcBef>
                  <a:spcPct val="20000"/>
                </a:spcBef>
                <a:buClrTx/>
                <a:buFont typeface="Wingdings" panose="05000000000000000000" pitchFamily="2" charset="2"/>
                <a:buChar char="§"/>
                <a:defRPr lang="en-US" sz="1800" b="0" kern="1200" dirty="0" smtClean="0">
                  <a:solidFill>
                    <a:schemeClr val="tx1"/>
                  </a:solidFill>
                  <a:latin typeface="+mn-lt"/>
                  <a:ea typeface="+mn-ea"/>
                  <a:cs typeface="+mn-cs"/>
                </a:defRPr>
              </a:lvl2pPr>
              <a:lvl3pPr marL="766763" indent="-176213" algn="l" defTabSz="913708" rtl="0" eaLnBrk="1" latinLnBrk="0" hangingPunct="1">
                <a:spcBef>
                  <a:spcPct val="20000"/>
                </a:spcBef>
                <a:buClrTx/>
                <a:buFont typeface="Wingdings" panose="05000000000000000000" pitchFamily="2" charset="2"/>
                <a:buChar char="§"/>
                <a:defRPr lang="en-US" sz="1500" b="0" kern="1200" dirty="0" smtClean="0">
                  <a:solidFill>
                    <a:schemeClr val="tx1"/>
                  </a:solidFill>
                  <a:latin typeface="+mn-lt"/>
                  <a:ea typeface="+mn-ea"/>
                  <a:cs typeface="+mn-cs"/>
                </a:defRPr>
              </a:lvl3pPr>
              <a:lvl4pPr marL="973138" indent="-153988" algn="l" defTabSz="913708" rtl="0" eaLnBrk="1" latinLnBrk="0" hangingPunct="1">
                <a:spcBef>
                  <a:spcPct val="20000"/>
                </a:spcBef>
                <a:buClrTx/>
                <a:buFont typeface="Wingdings" panose="05000000000000000000" pitchFamily="2" charset="2"/>
                <a:buChar char="§"/>
                <a:defRPr lang="en-US" sz="1350" b="0" kern="1200" dirty="0" smtClean="0">
                  <a:solidFill>
                    <a:schemeClr val="tx1"/>
                  </a:solidFill>
                  <a:latin typeface="+mn-lt"/>
                  <a:ea typeface="+mn-ea"/>
                  <a:cs typeface="+mn-cs"/>
                </a:defRPr>
              </a:lvl4pPr>
              <a:lvl5pPr marL="1143000" indent="-125413" algn="l" defTabSz="913708" rtl="0" eaLnBrk="1" latinLnBrk="0" hangingPunct="1">
                <a:spcBef>
                  <a:spcPct val="20000"/>
                </a:spcBef>
                <a:buClrTx/>
                <a:buFont typeface="Wingdings" panose="05000000000000000000" pitchFamily="2" charset="2"/>
                <a:buChar char="§"/>
                <a:defRPr lang="en-US" sz="1350" b="0" kern="1200" dirty="0">
                  <a:solidFill>
                    <a:schemeClr val="tx1"/>
                  </a:solidFill>
                  <a:latin typeface="+mn-lt"/>
                  <a:ea typeface="+mn-ea"/>
                  <a:cs typeface="+mn-cs"/>
                </a:defRPr>
              </a:lvl5pPr>
              <a:lvl6pPr marL="2512691" indent="-228434" algn="l" defTabSz="913708" rtl="0" eaLnBrk="1" latinLnBrk="0" hangingPunct="1">
                <a:spcBef>
                  <a:spcPct val="20000"/>
                </a:spcBef>
                <a:buFont typeface="+mj-lt"/>
                <a:buChar char="•"/>
                <a:defRPr sz="2025" kern="1200">
                  <a:solidFill>
                    <a:schemeClr val="tx1"/>
                  </a:solidFill>
                  <a:latin typeface="+mn-lt"/>
                  <a:ea typeface="+mn-ea"/>
                  <a:cs typeface="+mn-cs"/>
                </a:defRPr>
              </a:lvl6pPr>
              <a:lvl7pPr marL="2969546" indent="-228434" algn="l" defTabSz="913708" rtl="0" eaLnBrk="1" latinLnBrk="0" hangingPunct="1">
                <a:spcBef>
                  <a:spcPct val="20000"/>
                </a:spcBef>
                <a:buFont typeface="+mj-lt"/>
                <a:buChar char="•"/>
                <a:defRPr sz="2025" kern="1200">
                  <a:solidFill>
                    <a:schemeClr val="tx1"/>
                  </a:solidFill>
                  <a:latin typeface="+mn-lt"/>
                  <a:ea typeface="+mn-ea"/>
                  <a:cs typeface="+mn-cs"/>
                </a:defRPr>
              </a:lvl7pPr>
              <a:lvl8pPr marL="3426398" indent="-228434" algn="l" defTabSz="913708" rtl="0" eaLnBrk="1" latinLnBrk="0" hangingPunct="1">
                <a:spcBef>
                  <a:spcPct val="20000"/>
                </a:spcBef>
                <a:buFont typeface="+mj-lt"/>
                <a:buChar char="•"/>
                <a:defRPr sz="2025" kern="1200">
                  <a:solidFill>
                    <a:schemeClr val="tx1"/>
                  </a:solidFill>
                  <a:latin typeface="+mn-lt"/>
                  <a:ea typeface="+mn-ea"/>
                  <a:cs typeface="+mn-cs"/>
                </a:defRPr>
              </a:lvl8pPr>
              <a:lvl9pPr marL="3883253" indent="-228434" algn="l" defTabSz="913708" rtl="0" eaLnBrk="1" latinLnBrk="0" hangingPunct="1">
                <a:spcBef>
                  <a:spcPct val="20000"/>
                </a:spcBef>
                <a:buFont typeface="+mj-lt"/>
                <a:buChar char="•"/>
                <a:defRPr sz="2025" kern="1200">
                  <a:solidFill>
                    <a:schemeClr val="tx1"/>
                  </a:solidFill>
                  <a:latin typeface="+mn-lt"/>
                  <a:ea typeface="+mn-ea"/>
                  <a:cs typeface="+mn-cs"/>
                </a:defRPr>
              </a:lvl9pPr>
            </a:lstStyle>
            <a:p>
              <a:pPr fontAlgn="auto">
                <a:spcBef>
                  <a:spcPts val="600"/>
                </a:spcBef>
                <a:spcAft>
                  <a:spcPts val="1000"/>
                </a:spcAft>
              </a:pPr>
              <a:r>
                <a:rPr lang="en-US" sz="1600" dirty="0"/>
                <a:t>Variable cost ratio is a powerful tool to create agility</a:t>
              </a:r>
            </a:p>
            <a:p>
              <a:pPr fontAlgn="auto">
                <a:spcBef>
                  <a:spcPts val="600"/>
                </a:spcBef>
                <a:spcAft>
                  <a:spcPts val="1000"/>
                </a:spcAft>
              </a:pPr>
              <a:r>
                <a:rPr lang="en-US" sz="1600" dirty="0"/>
                <a:t>Carries risk of increasing costs when volumes rise but do not fall</a:t>
              </a:r>
            </a:p>
            <a:p>
              <a:pPr fontAlgn="auto">
                <a:spcBef>
                  <a:spcPts val="600"/>
                </a:spcBef>
                <a:spcAft>
                  <a:spcPts val="1000"/>
                </a:spcAft>
              </a:pPr>
              <a:r>
                <a:rPr lang="en-US" sz="1600" dirty="0"/>
                <a:t>Variablizing costs is more possible today with advent of public cloud</a:t>
              </a:r>
            </a:p>
          </p:txBody>
        </p:sp>
      </p:grpSp>
      <p:grpSp>
        <p:nvGrpSpPr>
          <p:cNvPr id="12" name="Group 11"/>
          <p:cNvGrpSpPr/>
          <p:nvPr/>
        </p:nvGrpSpPr>
        <p:grpSpPr>
          <a:xfrm>
            <a:off x="0" y="2937818"/>
            <a:ext cx="9144000" cy="1938982"/>
            <a:chOff x="0" y="2937818"/>
            <a:chExt cx="9144000" cy="1938982"/>
          </a:xfrm>
        </p:grpSpPr>
        <p:sp>
          <p:nvSpPr>
            <p:cNvPr id="6" name="Rectangle 5"/>
            <p:cNvSpPr/>
            <p:nvPr/>
          </p:nvSpPr>
          <p:spPr>
            <a:xfrm>
              <a:off x="0" y="2937818"/>
              <a:ext cx="9144000" cy="1938982"/>
            </a:xfrm>
            <a:prstGeom prst="rect">
              <a:avLst/>
            </a:prstGeom>
            <a:solidFill>
              <a:schemeClr val="accent5">
                <a:lumMod val="60000"/>
                <a:lumOff val="40000"/>
              </a:schemeClr>
            </a:solidFill>
          </p:spPr>
          <p:txBody>
            <a:bodyPr wrap="square" rtlCol="0" anchor="ctr">
              <a:noAutofit/>
            </a:bodyPr>
            <a:lstStyle/>
            <a:p>
              <a:pPr algn="ctr"/>
              <a:endParaRPr lang="en-US" dirty="0" err="1">
                <a:solidFill>
                  <a:schemeClr val="bg1"/>
                </a:solidFill>
                <a:latin typeface="+mn-lt"/>
              </a:endParaRPr>
            </a:p>
          </p:txBody>
        </p:sp>
        <p:pic>
          <p:nvPicPr>
            <p:cNvPr id="4" name="Picture 3"/>
            <p:cNvPicPr/>
            <p:nvPr/>
          </p:nvPicPr>
          <p:blipFill rotWithShape="1">
            <a:blip r:embed="rId3" cstate="print">
              <a:extLst>
                <a:ext uri="{28A0092B-C50C-407E-A947-70E740481C1C}">
                  <a14:useLocalDpi xmlns:a14="http://schemas.microsoft.com/office/drawing/2010/main" val="0"/>
                </a:ext>
              </a:extLst>
            </a:blip>
            <a:srcRect t="12102"/>
            <a:stretch/>
          </p:blipFill>
          <p:spPr bwMode="auto">
            <a:xfrm>
              <a:off x="5211336" y="3039895"/>
              <a:ext cx="3823844" cy="1725393"/>
            </a:xfrm>
            <a:prstGeom prst="rect">
              <a:avLst/>
            </a:prstGeom>
            <a:noFill/>
            <a:ln>
              <a:noFill/>
            </a:ln>
            <a:extLst>
              <a:ext uri="{53640926-AAD7-44D8-BBD7-CCE9431645EC}">
                <a14:shadowObscured xmlns:a14="http://schemas.microsoft.com/office/drawing/2010/main"/>
              </a:ext>
            </a:extLst>
          </p:spPr>
        </p:pic>
        <p:sp>
          <p:nvSpPr>
            <p:cNvPr id="9" name="Text Placeholder 2"/>
            <p:cNvSpPr txBox="1">
              <a:spLocks/>
            </p:cNvSpPr>
            <p:nvPr/>
          </p:nvSpPr>
          <p:spPr>
            <a:xfrm>
              <a:off x="66907" y="2937818"/>
              <a:ext cx="5077522" cy="1938982"/>
            </a:xfrm>
            <a:prstGeom prst="rect">
              <a:avLst/>
            </a:prstGeom>
          </p:spPr>
          <p:txBody>
            <a:bodyPr anchor="ctr">
              <a:normAutofit/>
            </a:bodyPr>
            <a:lstStyle>
              <a:lvl1pPr marL="274320" indent="-274320" algn="l" defTabSz="913708" rtl="0" eaLnBrk="1" latinLnBrk="0" hangingPunct="1">
                <a:spcBef>
                  <a:spcPct val="20000"/>
                </a:spcBef>
                <a:buClr>
                  <a:schemeClr val="accent1"/>
                </a:buClr>
                <a:buSzPct val="80000"/>
                <a:buFont typeface="Wingdings 3" panose="05040102010807070707" pitchFamily="18" charset="2"/>
                <a:buChar char=""/>
                <a:defRPr lang="en-US" sz="2100" b="0" kern="1200" dirty="0" smtClean="0">
                  <a:solidFill>
                    <a:schemeClr val="tx1"/>
                  </a:solidFill>
                  <a:latin typeface="+mn-lt"/>
                  <a:ea typeface="+mn-ea"/>
                  <a:cs typeface="+mn-cs"/>
                </a:defRPr>
              </a:lvl1pPr>
              <a:lvl2pPr marL="574675" indent="-228600" algn="l" defTabSz="913708" rtl="0" eaLnBrk="1" latinLnBrk="0" hangingPunct="1">
                <a:spcBef>
                  <a:spcPct val="20000"/>
                </a:spcBef>
                <a:buClrTx/>
                <a:buFont typeface="Wingdings" panose="05000000000000000000" pitchFamily="2" charset="2"/>
                <a:buChar char="§"/>
                <a:defRPr lang="en-US" sz="1800" b="0" kern="1200" dirty="0" smtClean="0">
                  <a:solidFill>
                    <a:schemeClr val="tx1"/>
                  </a:solidFill>
                  <a:latin typeface="+mn-lt"/>
                  <a:ea typeface="+mn-ea"/>
                  <a:cs typeface="+mn-cs"/>
                </a:defRPr>
              </a:lvl2pPr>
              <a:lvl3pPr marL="766763" indent="-176213" algn="l" defTabSz="913708" rtl="0" eaLnBrk="1" latinLnBrk="0" hangingPunct="1">
                <a:spcBef>
                  <a:spcPct val="20000"/>
                </a:spcBef>
                <a:buClrTx/>
                <a:buFont typeface="Wingdings" panose="05000000000000000000" pitchFamily="2" charset="2"/>
                <a:buChar char="§"/>
                <a:defRPr lang="en-US" sz="1500" b="0" kern="1200" dirty="0" smtClean="0">
                  <a:solidFill>
                    <a:schemeClr val="tx1"/>
                  </a:solidFill>
                  <a:latin typeface="+mn-lt"/>
                  <a:ea typeface="+mn-ea"/>
                  <a:cs typeface="+mn-cs"/>
                </a:defRPr>
              </a:lvl3pPr>
              <a:lvl4pPr marL="973138" indent="-153988" algn="l" defTabSz="913708" rtl="0" eaLnBrk="1" latinLnBrk="0" hangingPunct="1">
                <a:spcBef>
                  <a:spcPct val="20000"/>
                </a:spcBef>
                <a:buClrTx/>
                <a:buFont typeface="Wingdings" panose="05000000000000000000" pitchFamily="2" charset="2"/>
                <a:buChar char="§"/>
                <a:defRPr lang="en-US" sz="1350" b="0" kern="1200" dirty="0" smtClean="0">
                  <a:solidFill>
                    <a:schemeClr val="tx1"/>
                  </a:solidFill>
                  <a:latin typeface="+mn-lt"/>
                  <a:ea typeface="+mn-ea"/>
                  <a:cs typeface="+mn-cs"/>
                </a:defRPr>
              </a:lvl4pPr>
              <a:lvl5pPr marL="1143000" indent="-125413" algn="l" defTabSz="913708" rtl="0" eaLnBrk="1" latinLnBrk="0" hangingPunct="1">
                <a:spcBef>
                  <a:spcPct val="20000"/>
                </a:spcBef>
                <a:buClrTx/>
                <a:buFont typeface="Wingdings" panose="05000000000000000000" pitchFamily="2" charset="2"/>
                <a:buChar char="§"/>
                <a:defRPr lang="en-US" sz="1350" b="0" kern="1200" dirty="0">
                  <a:solidFill>
                    <a:schemeClr val="tx1"/>
                  </a:solidFill>
                  <a:latin typeface="+mn-lt"/>
                  <a:ea typeface="+mn-ea"/>
                  <a:cs typeface="+mn-cs"/>
                </a:defRPr>
              </a:lvl5pPr>
              <a:lvl6pPr marL="2512691" indent="-228434" algn="l" defTabSz="913708" rtl="0" eaLnBrk="1" latinLnBrk="0" hangingPunct="1">
                <a:spcBef>
                  <a:spcPct val="20000"/>
                </a:spcBef>
                <a:buFont typeface="+mj-lt"/>
                <a:buChar char="•"/>
                <a:defRPr sz="2025" kern="1200">
                  <a:solidFill>
                    <a:schemeClr val="tx1"/>
                  </a:solidFill>
                  <a:latin typeface="+mn-lt"/>
                  <a:ea typeface="+mn-ea"/>
                  <a:cs typeface="+mn-cs"/>
                </a:defRPr>
              </a:lvl6pPr>
              <a:lvl7pPr marL="2969546" indent="-228434" algn="l" defTabSz="913708" rtl="0" eaLnBrk="1" latinLnBrk="0" hangingPunct="1">
                <a:spcBef>
                  <a:spcPct val="20000"/>
                </a:spcBef>
                <a:buFont typeface="+mj-lt"/>
                <a:buChar char="•"/>
                <a:defRPr sz="2025" kern="1200">
                  <a:solidFill>
                    <a:schemeClr val="tx1"/>
                  </a:solidFill>
                  <a:latin typeface="+mn-lt"/>
                  <a:ea typeface="+mn-ea"/>
                  <a:cs typeface="+mn-cs"/>
                </a:defRPr>
              </a:lvl7pPr>
              <a:lvl8pPr marL="3426398" indent="-228434" algn="l" defTabSz="913708" rtl="0" eaLnBrk="1" latinLnBrk="0" hangingPunct="1">
                <a:spcBef>
                  <a:spcPct val="20000"/>
                </a:spcBef>
                <a:buFont typeface="+mj-lt"/>
                <a:buChar char="•"/>
                <a:defRPr sz="2025" kern="1200">
                  <a:solidFill>
                    <a:schemeClr val="tx1"/>
                  </a:solidFill>
                  <a:latin typeface="+mn-lt"/>
                  <a:ea typeface="+mn-ea"/>
                  <a:cs typeface="+mn-cs"/>
                </a:defRPr>
              </a:lvl8pPr>
              <a:lvl9pPr marL="3883253" indent="-228434" algn="l" defTabSz="913708" rtl="0" eaLnBrk="1" latinLnBrk="0" hangingPunct="1">
                <a:spcBef>
                  <a:spcPct val="20000"/>
                </a:spcBef>
                <a:buFont typeface="+mj-lt"/>
                <a:buChar char="•"/>
                <a:defRPr sz="2025" kern="1200">
                  <a:solidFill>
                    <a:schemeClr val="tx1"/>
                  </a:solidFill>
                  <a:latin typeface="+mn-lt"/>
                  <a:ea typeface="+mn-ea"/>
                  <a:cs typeface="+mn-cs"/>
                </a:defRPr>
              </a:lvl9pPr>
            </a:lstStyle>
            <a:p>
              <a:pPr fontAlgn="auto">
                <a:spcBef>
                  <a:spcPts val="600"/>
                </a:spcBef>
                <a:spcAft>
                  <a:spcPts val="1000"/>
                </a:spcAft>
                <a:buClr>
                  <a:schemeClr val="accent4"/>
                </a:buClr>
              </a:pPr>
              <a:r>
                <a:rPr lang="en-US" sz="1600" dirty="0"/>
                <a:t>Better data quality speeds decision making and improves confidence</a:t>
              </a:r>
            </a:p>
            <a:p>
              <a:pPr fontAlgn="auto">
                <a:spcBef>
                  <a:spcPts val="600"/>
                </a:spcBef>
                <a:spcAft>
                  <a:spcPts val="1000"/>
                </a:spcAft>
                <a:buClr>
                  <a:schemeClr val="accent4"/>
                </a:buClr>
              </a:pPr>
              <a:r>
                <a:rPr lang="en-US" sz="1600" dirty="0"/>
                <a:t>Strong correlation between data maturity and speed of delivery</a:t>
              </a:r>
            </a:p>
            <a:p>
              <a:pPr fontAlgn="auto">
                <a:spcBef>
                  <a:spcPts val="600"/>
                </a:spcBef>
                <a:spcAft>
                  <a:spcPts val="1000"/>
                </a:spcAft>
                <a:buClr>
                  <a:schemeClr val="accent4"/>
                </a:buClr>
              </a:pPr>
              <a:r>
                <a:rPr lang="en-US" sz="1600" dirty="0"/>
                <a:t>IT data quality is bolstered by using the TBM model</a:t>
              </a:r>
            </a:p>
          </p:txBody>
        </p:sp>
      </p:grpSp>
      <p:pic>
        <p:nvPicPr>
          <p:cNvPr id="10" name="Picture 9"/>
          <p:cNvPicPr>
            <a:picLocks noChangeAspect="1"/>
          </p:cNvPicPr>
          <p:nvPr/>
        </p:nvPicPr>
        <p:blipFill>
          <a:blip r:embed="rId4"/>
          <a:stretch>
            <a:fillRect/>
          </a:stretch>
        </p:blipFill>
        <p:spPr>
          <a:xfrm>
            <a:off x="8138160" y="45720"/>
            <a:ext cx="914400" cy="569121"/>
          </a:xfrm>
          <a:prstGeom prst="rect">
            <a:avLst/>
          </a:prstGeom>
        </p:spPr>
      </p:pic>
    </p:spTree>
    <p:extLst>
      <p:ext uri="{BB962C8B-B14F-4D97-AF65-F5344CB8AC3E}">
        <p14:creationId xmlns:p14="http://schemas.microsoft.com/office/powerpoint/2010/main" val="1977804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935502" y="904031"/>
            <a:ext cx="7272997" cy="3703305"/>
            <a:chOff x="3467218" y="683002"/>
            <a:chExt cx="4420519" cy="2073218"/>
          </a:xfrm>
        </p:grpSpPr>
        <p:sp>
          <p:nvSpPr>
            <p:cNvPr id="5" name="Freeform 4"/>
            <p:cNvSpPr/>
            <p:nvPr/>
          </p:nvSpPr>
          <p:spPr>
            <a:xfrm rot="5400000">
              <a:off x="3080828" y="1300790"/>
              <a:ext cx="1841820" cy="1069040"/>
            </a:xfrm>
            <a:custGeom>
              <a:avLst/>
              <a:gdLst>
                <a:gd name="connsiteX0" fmla="*/ 0 w 1841820"/>
                <a:gd name="connsiteY0" fmla="*/ 969448 h 1069040"/>
                <a:gd name="connsiteX1" fmla="*/ 0 w 1841820"/>
                <a:gd name="connsiteY1" fmla="*/ 99593 h 1069040"/>
                <a:gd name="connsiteX2" fmla="*/ 99592 w 1841820"/>
                <a:gd name="connsiteY2" fmla="*/ 0 h 1069040"/>
                <a:gd name="connsiteX3" fmla="*/ 1240673 w 1841820"/>
                <a:gd name="connsiteY3" fmla="*/ 0 h 1069040"/>
                <a:gd name="connsiteX4" fmla="*/ 1240675 w 1841820"/>
                <a:gd name="connsiteY4" fmla="*/ 1 h 1069040"/>
                <a:gd name="connsiteX5" fmla="*/ 1649959 w 1841820"/>
                <a:gd name="connsiteY5" fmla="*/ 1 h 1069040"/>
                <a:gd name="connsiteX6" fmla="*/ 1841820 w 1841820"/>
                <a:gd name="connsiteY6" fmla="*/ 534521 h 1069040"/>
                <a:gd name="connsiteX7" fmla="*/ 1649959 w 1841820"/>
                <a:gd name="connsiteY7" fmla="*/ 1069040 h 1069040"/>
                <a:gd name="connsiteX8" fmla="*/ 984570 w 1841820"/>
                <a:gd name="connsiteY8" fmla="*/ 1069040 h 1069040"/>
                <a:gd name="connsiteX9" fmla="*/ 984570 w 1841820"/>
                <a:gd name="connsiteY9" fmla="*/ 1069040 h 1069040"/>
                <a:gd name="connsiteX10" fmla="*/ 99592 w 1841820"/>
                <a:gd name="connsiteY10" fmla="*/ 1069040 h 1069040"/>
                <a:gd name="connsiteX11" fmla="*/ 0 w 1841820"/>
                <a:gd name="connsiteY11" fmla="*/ 969448 h 1069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41820" h="1069040">
                  <a:moveTo>
                    <a:pt x="0" y="969448"/>
                  </a:moveTo>
                  <a:lnTo>
                    <a:pt x="0" y="99593"/>
                  </a:lnTo>
                  <a:cubicBezTo>
                    <a:pt x="0" y="44590"/>
                    <a:pt x="44589" y="0"/>
                    <a:pt x="99592" y="0"/>
                  </a:cubicBezTo>
                  <a:lnTo>
                    <a:pt x="1240673" y="0"/>
                  </a:lnTo>
                  <a:lnTo>
                    <a:pt x="1240675" y="1"/>
                  </a:lnTo>
                  <a:lnTo>
                    <a:pt x="1649959" y="1"/>
                  </a:lnTo>
                  <a:lnTo>
                    <a:pt x="1841820" y="534521"/>
                  </a:lnTo>
                  <a:lnTo>
                    <a:pt x="1649959" y="1069040"/>
                  </a:lnTo>
                  <a:lnTo>
                    <a:pt x="984570" y="1069040"/>
                  </a:lnTo>
                  <a:lnTo>
                    <a:pt x="984570" y="1069040"/>
                  </a:lnTo>
                  <a:lnTo>
                    <a:pt x="99592" y="1069040"/>
                  </a:lnTo>
                  <a:cubicBezTo>
                    <a:pt x="44589" y="1069040"/>
                    <a:pt x="0" y="1024451"/>
                    <a:pt x="0" y="969448"/>
                  </a:cubicBezTo>
                  <a:close/>
                </a:path>
              </a:pathLst>
            </a:custGeom>
            <a:solidFill>
              <a:schemeClr val="accent4"/>
            </a:solidFill>
            <a:ln w="9525" cap="flat" cmpd="sng" algn="ctr">
              <a:noFill/>
              <a:prstDash val="solid"/>
            </a:ln>
            <a:effectLst/>
          </p:spPr>
          <p:txBody>
            <a:bodyPr vert="vert270" wrap="square" lIns="182880" tIns="45720" rIns="0" bIns="45720" rtlCol="0" anchor="t">
              <a:noAutofit/>
            </a:bodyPr>
            <a:lstStyle/>
            <a:p>
              <a:pPr marL="0" marR="0" lvl="0" indent="0" algn="ctr" defTabSz="456804"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Calibri"/>
                </a:rPr>
                <a:t>Cost-for-Performance</a:t>
              </a:r>
            </a:p>
            <a:p>
              <a:pPr marL="0" marR="0" lvl="0" indent="0" algn="ctr" defTabSz="456804" eaLnBrk="1" fontAlgn="auto" latinLnBrk="0" hangingPunct="1">
                <a:lnSpc>
                  <a:spcPct val="100000"/>
                </a:lnSpc>
                <a:spcBef>
                  <a:spcPts val="0"/>
                </a:spcBef>
                <a:spcAft>
                  <a:spcPts val="0"/>
                </a:spcAft>
                <a:buClrTx/>
                <a:buSzTx/>
                <a:buFontTx/>
                <a:buNone/>
                <a:tabLst/>
                <a:defRPr/>
              </a:pPr>
              <a:endParaRPr lang="en-US" sz="1600" b="1" kern="0" dirty="0">
                <a:solidFill>
                  <a:prstClr val="white"/>
                </a:solidFill>
                <a:latin typeface="Calibri"/>
              </a:endParaRPr>
            </a:p>
            <a:p>
              <a:pPr marL="173038" indent="-114300">
                <a:spcBef>
                  <a:spcPts val="600"/>
                </a:spcBef>
                <a:spcAft>
                  <a:spcPts val="600"/>
                </a:spcAft>
                <a:buFont typeface="Wingdings" panose="05000000000000000000" pitchFamily="2" charset="2"/>
                <a:buChar char="§"/>
              </a:pPr>
              <a:r>
                <a:rPr lang="en-US" sz="1050" b="1" dirty="0">
                  <a:solidFill>
                    <a:schemeClr val="bg1"/>
                  </a:solidFill>
                  <a:latin typeface="Avenir LT Std 55 Roman" panose="020B0503020203020204" pitchFamily="34" charset="0"/>
                  <a:ea typeface="Avenir Book" charset="0"/>
                  <a:cs typeface="Avenir Book" charset="0"/>
                </a:rPr>
                <a:t>Unit Costs vs. Targets (Towers)</a:t>
              </a:r>
            </a:p>
            <a:p>
              <a:pPr marL="173038" indent="-114300">
                <a:spcBef>
                  <a:spcPts val="600"/>
                </a:spcBef>
                <a:spcAft>
                  <a:spcPts val="600"/>
                </a:spcAft>
                <a:buFont typeface="Wingdings" panose="05000000000000000000" pitchFamily="2" charset="2"/>
                <a:buChar char="§"/>
              </a:pPr>
              <a:r>
                <a:rPr lang="en-US" sz="1050" b="1" dirty="0">
                  <a:solidFill>
                    <a:schemeClr val="bg1"/>
                  </a:solidFill>
                  <a:latin typeface="Avenir LT Std 55 Roman" panose="020B0503020203020204" pitchFamily="34" charset="0"/>
                  <a:ea typeface="Avenir Book" charset="0"/>
                  <a:cs typeface="Avenir Book" charset="0"/>
                </a:rPr>
                <a:t>Unit Costs vs. Targets (Services)</a:t>
              </a:r>
            </a:p>
            <a:p>
              <a:pPr marL="173038" indent="-114300">
                <a:spcBef>
                  <a:spcPts val="600"/>
                </a:spcBef>
                <a:spcAft>
                  <a:spcPts val="600"/>
                </a:spcAft>
                <a:buFont typeface="Wingdings" panose="05000000000000000000" pitchFamily="2" charset="2"/>
                <a:buChar char="§"/>
              </a:pPr>
              <a:r>
                <a:rPr lang="en-US" sz="1050" b="1" dirty="0">
                  <a:solidFill>
                    <a:schemeClr val="bg1"/>
                  </a:solidFill>
                  <a:latin typeface="Avenir LT Std 55 Roman" panose="020B0503020203020204" pitchFamily="34" charset="0"/>
                  <a:ea typeface="Avenir Book" charset="0"/>
                  <a:cs typeface="Avenir Book" charset="0"/>
                </a:rPr>
                <a:t>Performance of Services (SLAs)</a:t>
              </a:r>
            </a:p>
            <a:p>
              <a:pPr marL="173038" indent="-114300">
                <a:spcBef>
                  <a:spcPts val="600"/>
                </a:spcBef>
                <a:spcAft>
                  <a:spcPts val="600"/>
                </a:spcAft>
                <a:buFont typeface="Wingdings" panose="05000000000000000000" pitchFamily="2" charset="2"/>
                <a:buChar char="§"/>
              </a:pPr>
              <a:r>
                <a:rPr lang="en-US" sz="1050" b="1" dirty="0">
                  <a:solidFill>
                    <a:schemeClr val="bg1"/>
                  </a:solidFill>
                  <a:latin typeface="Avenir LT Std 55 Roman" panose="020B0503020203020204" pitchFamily="34" charset="0"/>
                  <a:ea typeface="Avenir Book" charset="0"/>
                  <a:cs typeface="Avenir Book" charset="0"/>
                </a:rPr>
                <a:t>Customer Satisfaction Scores</a:t>
              </a:r>
            </a:p>
          </p:txBody>
        </p:sp>
        <p:sp>
          <p:nvSpPr>
            <p:cNvPr id="6" name="Freeform 5"/>
            <p:cNvSpPr/>
            <p:nvPr/>
          </p:nvSpPr>
          <p:spPr>
            <a:xfrm rot="5400000">
              <a:off x="4197988" y="1300790"/>
              <a:ext cx="1841820" cy="1069040"/>
            </a:xfrm>
            <a:custGeom>
              <a:avLst/>
              <a:gdLst>
                <a:gd name="connsiteX0" fmla="*/ 0 w 1841820"/>
                <a:gd name="connsiteY0" fmla="*/ 969448 h 1069040"/>
                <a:gd name="connsiteX1" fmla="*/ 0 w 1841820"/>
                <a:gd name="connsiteY1" fmla="*/ 99593 h 1069040"/>
                <a:gd name="connsiteX2" fmla="*/ 99592 w 1841820"/>
                <a:gd name="connsiteY2" fmla="*/ 0 h 1069040"/>
                <a:gd name="connsiteX3" fmla="*/ 1240673 w 1841820"/>
                <a:gd name="connsiteY3" fmla="*/ 0 h 1069040"/>
                <a:gd name="connsiteX4" fmla="*/ 1240675 w 1841820"/>
                <a:gd name="connsiteY4" fmla="*/ 1 h 1069040"/>
                <a:gd name="connsiteX5" fmla="*/ 1649959 w 1841820"/>
                <a:gd name="connsiteY5" fmla="*/ 1 h 1069040"/>
                <a:gd name="connsiteX6" fmla="*/ 1841820 w 1841820"/>
                <a:gd name="connsiteY6" fmla="*/ 534521 h 1069040"/>
                <a:gd name="connsiteX7" fmla="*/ 1649959 w 1841820"/>
                <a:gd name="connsiteY7" fmla="*/ 1069040 h 1069040"/>
                <a:gd name="connsiteX8" fmla="*/ 984570 w 1841820"/>
                <a:gd name="connsiteY8" fmla="*/ 1069040 h 1069040"/>
                <a:gd name="connsiteX9" fmla="*/ 984570 w 1841820"/>
                <a:gd name="connsiteY9" fmla="*/ 1069040 h 1069040"/>
                <a:gd name="connsiteX10" fmla="*/ 99592 w 1841820"/>
                <a:gd name="connsiteY10" fmla="*/ 1069040 h 1069040"/>
                <a:gd name="connsiteX11" fmla="*/ 0 w 1841820"/>
                <a:gd name="connsiteY11" fmla="*/ 969448 h 1069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41820" h="1069040">
                  <a:moveTo>
                    <a:pt x="0" y="969448"/>
                  </a:moveTo>
                  <a:lnTo>
                    <a:pt x="0" y="99593"/>
                  </a:lnTo>
                  <a:cubicBezTo>
                    <a:pt x="0" y="44590"/>
                    <a:pt x="44589" y="0"/>
                    <a:pt x="99592" y="0"/>
                  </a:cubicBezTo>
                  <a:lnTo>
                    <a:pt x="1240673" y="0"/>
                  </a:lnTo>
                  <a:lnTo>
                    <a:pt x="1240675" y="1"/>
                  </a:lnTo>
                  <a:lnTo>
                    <a:pt x="1649959" y="1"/>
                  </a:lnTo>
                  <a:lnTo>
                    <a:pt x="1841820" y="534521"/>
                  </a:lnTo>
                  <a:lnTo>
                    <a:pt x="1649959" y="1069040"/>
                  </a:lnTo>
                  <a:lnTo>
                    <a:pt x="984570" y="1069040"/>
                  </a:lnTo>
                  <a:lnTo>
                    <a:pt x="984570" y="1069040"/>
                  </a:lnTo>
                  <a:lnTo>
                    <a:pt x="99592" y="1069040"/>
                  </a:lnTo>
                  <a:cubicBezTo>
                    <a:pt x="44589" y="1069040"/>
                    <a:pt x="0" y="1024451"/>
                    <a:pt x="0" y="969448"/>
                  </a:cubicBezTo>
                  <a:close/>
                </a:path>
              </a:pathLst>
            </a:custGeom>
            <a:solidFill>
              <a:schemeClr val="accent4"/>
            </a:solidFill>
            <a:ln w="9525" cap="flat" cmpd="sng" algn="ctr">
              <a:noFill/>
              <a:prstDash val="solid"/>
            </a:ln>
            <a:effectLst/>
          </p:spPr>
          <p:txBody>
            <a:bodyPr vert="vert270" wrap="square" lIns="182880" tIns="45720" rIns="0" bIns="45720" rtlCol="0" anchor="t">
              <a:noAutofit/>
            </a:bodyPr>
            <a:lstStyle/>
            <a:p>
              <a:pPr marL="0" marR="0" lvl="0" indent="0" algn="ctr" defTabSz="456804"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Calibri"/>
                </a:rPr>
                <a:t>Business-</a:t>
              </a:r>
              <a:br>
                <a:rPr kumimoji="0" lang="en-US" sz="1600" b="1" i="0" u="none" strike="noStrike" kern="0" cap="none" spc="0" normalizeH="0" baseline="0" noProof="0" dirty="0">
                  <a:ln>
                    <a:noFill/>
                  </a:ln>
                  <a:solidFill>
                    <a:prstClr val="white"/>
                  </a:solidFill>
                  <a:effectLst/>
                  <a:uLnTx/>
                  <a:uFillTx/>
                  <a:latin typeface="Calibri"/>
                </a:rPr>
              </a:br>
              <a:r>
                <a:rPr kumimoji="0" lang="en-US" sz="1600" b="1" i="0" u="none" strike="noStrike" kern="0" cap="none" spc="0" normalizeH="0" baseline="0" noProof="0" dirty="0">
                  <a:ln>
                    <a:noFill/>
                  </a:ln>
                  <a:solidFill>
                    <a:prstClr val="white"/>
                  </a:solidFill>
                  <a:effectLst/>
                  <a:uLnTx/>
                  <a:uFillTx/>
                  <a:latin typeface="Calibri"/>
                </a:rPr>
                <a:t>Aligned Portfolio</a:t>
              </a:r>
            </a:p>
            <a:p>
              <a:pPr marL="0" marR="0" lvl="0" indent="0" algn="ctr" defTabSz="456804" eaLnBrk="1" fontAlgn="auto" latinLnBrk="0" hangingPunct="1">
                <a:lnSpc>
                  <a:spcPct val="100000"/>
                </a:lnSpc>
                <a:spcBef>
                  <a:spcPts val="0"/>
                </a:spcBef>
                <a:spcAft>
                  <a:spcPts val="0"/>
                </a:spcAft>
                <a:buClrTx/>
                <a:buSzTx/>
                <a:buFontTx/>
                <a:buNone/>
                <a:tabLst/>
                <a:defRPr/>
              </a:pPr>
              <a:endParaRPr lang="en-US" sz="1600" b="1" kern="0" dirty="0">
                <a:solidFill>
                  <a:prstClr val="white"/>
                </a:solidFill>
                <a:latin typeface="Calibri"/>
              </a:endParaRPr>
            </a:p>
            <a:p>
              <a:pPr marL="173038" lvl="0" indent="-114300">
                <a:spcBef>
                  <a:spcPts val="600"/>
                </a:spcBef>
                <a:spcAft>
                  <a:spcPts val="600"/>
                </a:spcAft>
                <a:buFont typeface="Wingdings" panose="05000000000000000000" pitchFamily="2" charset="2"/>
                <a:buChar char="§"/>
              </a:pPr>
              <a:r>
                <a:rPr lang="en-US" sz="1050" b="1" dirty="0">
                  <a:solidFill>
                    <a:srgbClr val="FFFFFF"/>
                  </a:solidFill>
                  <a:latin typeface="Avenir LT Std 55 Roman" panose="020B0503020203020204" pitchFamily="34" charset="0"/>
                  <a:ea typeface="Avenir Book" charset="0"/>
                  <a:cs typeface="Avenir Book" charset="0"/>
                </a:rPr>
                <a:t>TCO by Corporate Outcomes</a:t>
              </a:r>
            </a:p>
            <a:p>
              <a:pPr marL="173038" lvl="0" indent="-114300">
                <a:spcBef>
                  <a:spcPts val="600"/>
                </a:spcBef>
                <a:spcAft>
                  <a:spcPts val="600"/>
                </a:spcAft>
                <a:buFont typeface="Wingdings" panose="05000000000000000000" pitchFamily="2" charset="2"/>
                <a:buChar char="§"/>
              </a:pPr>
              <a:r>
                <a:rPr lang="en-US" sz="1050" b="1" dirty="0">
                  <a:solidFill>
                    <a:srgbClr val="FFFFFF"/>
                  </a:solidFill>
                  <a:latin typeface="Avenir LT Std 55 Roman" panose="020B0503020203020204" pitchFamily="34" charset="0"/>
                  <a:ea typeface="Avenir Book" charset="0"/>
                  <a:cs typeface="Avenir Book" charset="0"/>
                </a:rPr>
                <a:t>TCO by Business-Facing Services</a:t>
              </a:r>
            </a:p>
            <a:p>
              <a:pPr marL="173038" lvl="0" indent="-114300">
                <a:spcBef>
                  <a:spcPts val="600"/>
                </a:spcBef>
                <a:spcAft>
                  <a:spcPts val="600"/>
                </a:spcAft>
                <a:buFont typeface="Wingdings" panose="05000000000000000000" pitchFamily="2" charset="2"/>
                <a:buChar char="§"/>
              </a:pPr>
              <a:r>
                <a:rPr lang="en-US" sz="1050" b="1" dirty="0">
                  <a:solidFill>
                    <a:srgbClr val="FFFFFF"/>
                  </a:solidFill>
                  <a:latin typeface="Avenir LT Std 55 Roman" panose="020B0503020203020204" pitchFamily="34" charset="0"/>
                  <a:ea typeface="Avenir Book" charset="0"/>
                  <a:cs typeface="Avenir Book" charset="0"/>
                </a:rPr>
                <a:t>TCO by TIME</a:t>
              </a:r>
            </a:p>
            <a:p>
              <a:pPr marL="173038" lvl="0" indent="-114300">
                <a:spcBef>
                  <a:spcPts val="600"/>
                </a:spcBef>
                <a:spcAft>
                  <a:spcPts val="600"/>
                </a:spcAft>
                <a:buFont typeface="Wingdings" panose="05000000000000000000" pitchFamily="2" charset="2"/>
                <a:buChar char="§"/>
              </a:pPr>
              <a:r>
                <a:rPr lang="en-US" sz="1050" b="1" dirty="0">
                  <a:solidFill>
                    <a:srgbClr val="FFFFFF"/>
                  </a:solidFill>
                  <a:latin typeface="Avenir LT Std 55 Roman" panose="020B0503020203020204" pitchFamily="34" charset="0"/>
                  <a:ea typeface="Avenir Book" charset="0"/>
                  <a:cs typeface="Avenir Book" charset="0"/>
                </a:rPr>
                <a:t>TCO by Vendor Category</a:t>
              </a:r>
            </a:p>
            <a:p>
              <a:pPr marL="0" marR="0" lvl="0" indent="0" algn="ctr" defTabSz="456804"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prstClr val="white"/>
                </a:solidFill>
                <a:effectLst/>
                <a:uLnTx/>
                <a:uFillTx/>
                <a:latin typeface="Calibri"/>
                <a:ea typeface="+mn-ea"/>
                <a:cs typeface="+mn-cs"/>
              </a:endParaRPr>
            </a:p>
          </p:txBody>
        </p:sp>
        <p:sp>
          <p:nvSpPr>
            <p:cNvPr id="7" name="Freeform 6"/>
            <p:cNvSpPr/>
            <p:nvPr/>
          </p:nvSpPr>
          <p:spPr>
            <a:xfrm rot="5400000">
              <a:off x="5315148" y="1300790"/>
              <a:ext cx="1841820" cy="1069040"/>
            </a:xfrm>
            <a:custGeom>
              <a:avLst/>
              <a:gdLst>
                <a:gd name="connsiteX0" fmla="*/ 0 w 1841820"/>
                <a:gd name="connsiteY0" fmla="*/ 969448 h 1069040"/>
                <a:gd name="connsiteX1" fmla="*/ 0 w 1841820"/>
                <a:gd name="connsiteY1" fmla="*/ 99593 h 1069040"/>
                <a:gd name="connsiteX2" fmla="*/ 99592 w 1841820"/>
                <a:gd name="connsiteY2" fmla="*/ 0 h 1069040"/>
                <a:gd name="connsiteX3" fmla="*/ 1240673 w 1841820"/>
                <a:gd name="connsiteY3" fmla="*/ 0 h 1069040"/>
                <a:gd name="connsiteX4" fmla="*/ 1240675 w 1841820"/>
                <a:gd name="connsiteY4" fmla="*/ 1 h 1069040"/>
                <a:gd name="connsiteX5" fmla="*/ 1649959 w 1841820"/>
                <a:gd name="connsiteY5" fmla="*/ 1 h 1069040"/>
                <a:gd name="connsiteX6" fmla="*/ 1841820 w 1841820"/>
                <a:gd name="connsiteY6" fmla="*/ 534521 h 1069040"/>
                <a:gd name="connsiteX7" fmla="*/ 1649959 w 1841820"/>
                <a:gd name="connsiteY7" fmla="*/ 1069040 h 1069040"/>
                <a:gd name="connsiteX8" fmla="*/ 984570 w 1841820"/>
                <a:gd name="connsiteY8" fmla="*/ 1069040 h 1069040"/>
                <a:gd name="connsiteX9" fmla="*/ 984570 w 1841820"/>
                <a:gd name="connsiteY9" fmla="*/ 1069040 h 1069040"/>
                <a:gd name="connsiteX10" fmla="*/ 99592 w 1841820"/>
                <a:gd name="connsiteY10" fmla="*/ 1069040 h 1069040"/>
                <a:gd name="connsiteX11" fmla="*/ 0 w 1841820"/>
                <a:gd name="connsiteY11" fmla="*/ 969448 h 1069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41820" h="1069040">
                  <a:moveTo>
                    <a:pt x="0" y="969448"/>
                  </a:moveTo>
                  <a:lnTo>
                    <a:pt x="0" y="99593"/>
                  </a:lnTo>
                  <a:cubicBezTo>
                    <a:pt x="0" y="44590"/>
                    <a:pt x="44589" y="0"/>
                    <a:pt x="99592" y="0"/>
                  </a:cubicBezTo>
                  <a:lnTo>
                    <a:pt x="1240673" y="0"/>
                  </a:lnTo>
                  <a:lnTo>
                    <a:pt x="1240675" y="1"/>
                  </a:lnTo>
                  <a:lnTo>
                    <a:pt x="1649959" y="1"/>
                  </a:lnTo>
                  <a:lnTo>
                    <a:pt x="1841820" y="534521"/>
                  </a:lnTo>
                  <a:lnTo>
                    <a:pt x="1649959" y="1069040"/>
                  </a:lnTo>
                  <a:lnTo>
                    <a:pt x="984570" y="1069040"/>
                  </a:lnTo>
                  <a:lnTo>
                    <a:pt x="984570" y="1069040"/>
                  </a:lnTo>
                  <a:lnTo>
                    <a:pt x="99592" y="1069040"/>
                  </a:lnTo>
                  <a:cubicBezTo>
                    <a:pt x="44589" y="1069040"/>
                    <a:pt x="0" y="1024451"/>
                    <a:pt x="0" y="969448"/>
                  </a:cubicBezTo>
                  <a:close/>
                </a:path>
              </a:pathLst>
            </a:custGeom>
            <a:solidFill>
              <a:schemeClr val="accent4"/>
            </a:solidFill>
            <a:ln w="9525" cap="flat" cmpd="sng" algn="ctr">
              <a:noFill/>
              <a:prstDash val="solid"/>
            </a:ln>
            <a:effectLst/>
          </p:spPr>
          <p:txBody>
            <a:bodyPr vert="vert270" wrap="square" lIns="182880" tIns="45720" rIns="0" bIns="45720" rtlCol="0" anchor="t">
              <a:noAutofit/>
            </a:bodyPr>
            <a:lstStyle/>
            <a:p>
              <a:pPr marL="0" marR="0" lvl="0" indent="0" algn="ctr" defTabSz="456804"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Calibri"/>
                </a:rPr>
                <a:t>Investment in Innovation</a:t>
              </a:r>
            </a:p>
            <a:p>
              <a:pPr marL="0" marR="0" lvl="0" indent="0" algn="ctr" defTabSz="456804" eaLnBrk="1" fontAlgn="auto" latinLnBrk="0" hangingPunct="1">
                <a:lnSpc>
                  <a:spcPct val="100000"/>
                </a:lnSpc>
                <a:spcBef>
                  <a:spcPts val="0"/>
                </a:spcBef>
                <a:spcAft>
                  <a:spcPts val="0"/>
                </a:spcAft>
                <a:buClrTx/>
                <a:buSzTx/>
                <a:buFontTx/>
                <a:buNone/>
                <a:tabLst/>
                <a:defRPr/>
              </a:pPr>
              <a:endParaRPr lang="en-US" sz="1600" b="1" kern="0" dirty="0">
                <a:solidFill>
                  <a:prstClr val="white"/>
                </a:solidFill>
                <a:latin typeface="Calibri"/>
              </a:endParaRPr>
            </a:p>
            <a:p>
              <a:pPr marL="173038" lvl="0" indent="-114300">
                <a:spcBef>
                  <a:spcPts val="600"/>
                </a:spcBef>
                <a:spcAft>
                  <a:spcPts val="600"/>
                </a:spcAft>
                <a:buFont typeface="Wingdings" panose="05000000000000000000" pitchFamily="2" charset="2"/>
                <a:buChar char="§"/>
              </a:pPr>
              <a:r>
                <a:rPr lang="en-US" sz="1050" b="1" dirty="0">
                  <a:solidFill>
                    <a:srgbClr val="FFFFFF"/>
                  </a:solidFill>
                  <a:latin typeface="Avenir LT Std 55 Roman" panose="020B0503020203020204" pitchFamily="34" charset="0"/>
                  <a:ea typeface="Avenir Book" charset="0"/>
                  <a:cs typeface="Avenir Book" charset="0"/>
                </a:rPr>
                <a:t>Run-the-Business vs. Change-the-Business</a:t>
              </a:r>
            </a:p>
            <a:p>
              <a:pPr marL="173038" lvl="0" indent="-114300">
                <a:spcBef>
                  <a:spcPts val="600"/>
                </a:spcBef>
                <a:spcAft>
                  <a:spcPts val="600"/>
                </a:spcAft>
                <a:buFont typeface="Wingdings" panose="05000000000000000000" pitchFamily="2" charset="2"/>
                <a:buChar char="§"/>
              </a:pPr>
              <a:r>
                <a:rPr lang="en-US" sz="1050" b="1" dirty="0">
                  <a:solidFill>
                    <a:srgbClr val="FFFFFF"/>
                  </a:solidFill>
                  <a:latin typeface="Avenir LT Std 55 Roman" panose="020B0503020203020204" pitchFamily="34" charset="0"/>
                  <a:ea typeface="Avenir Book" charset="0"/>
                  <a:cs typeface="Avenir Book" charset="0"/>
                </a:rPr>
                <a:t>Investment by Value Category</a:t>
              </a:r>
            </a:p>
            <a:p>
              <a:pPr marL="173038" lvl="0" indent="-114300">
                <a:spcBef>
                  <a:spcPts val="600"/>
                </a:spcBef>
                <a:spcAft>
                  <a:spcPts val="600"/>
                </a:spcAft>
                <a:buFont typeface="Wingdings" panose="05000000000000000000" pitchFamily="2" charset="2"/>
                <a:buChar char="§"/>
              </a:pPr>
              <a:r>
                <a:rPr lang="en-US" sz="1050" b="1" dirty="0">
                  <a:solidFill>
                    <a:srgbClr val="FFFFFF"/>
                  </a:solidFill>
                  <a:latin typeface="Avenir LT Std 55 Roman" panose="020B0503020203020204" pitchFamily="34" charset="0"/>
                  <a:ea typeface="Avenir Book" charset="0"/>
                  <a:cs typeface="Avenir Book" charset="0"/>
                </a:rPr>
                <a:t>Projects On Time, On Spec and On Budget</a:t>
              </a:r>
            </a:p>
            <a:p>
              <a:pPr marL="173038" lvl="0" indent="-114300">
                <a:spcBef>
                  <a:spcPts val="600"/>
                </a:spcBef>
                <a:spcAft>
                  <a:spcPts val="600"/>
                </a:spcAft>
                <a:buFont typeface="Wingdings" panose="05000000000000000000" pitchFamily="2" charset="2"/>
                <a:buChar char="§"/>
              </a:pPr>
              <a:r>
                <a:rPr lang="en-US" sz="1050" b="1" dirty="0">
                  <a:solidFill>
                    <a:srgbClr val="FFFFFF"/>
                  </a:solidFill>
                  <a:latin typeface="Avenir LT Std 55 Roman" panose="020B0503020203020204" pitchFamily="34" charset="0"/>
                  <a:ea typeface="Avenir Book" charset="0"/>
                  <a:cs typeface="Avenir Book" charset="0"/>
                </a:rPr>
                <a:t>Economic Value Added of Investment Portfolio</a:t>
              </a:r>
            </a:p>
          </p:txBody>
        </p:sp>
        <p:sp>
          <p:nvSpPr>
            <p:cNvPr id="8" name="Freeform 7"/>
            <p:cNvSpPr/>
            <p:nvPr/>
          </p:nvSpPr>
          <p:spPr>
            <a:xfrm rot="5400000">
              <a:off x="6432307" y="1300790"/>
              <a:ext cx="1841820" cy="1069040"/>
            </a:xfrm>
            <a:custGeom>
              <a:avLst/>
              <a:gdLst>
                <a:gd name="connsiteX0" fmla="*/ 0 w 1841820"/>
                <a:gd name="connsiteY0" fmla="*/ 969448 h 1069040"/>
                <a:gd name="connsiteX1" fmla="*/ 0 w 1841820"/>
                <a:gd name="connsiteY1" fmla="*/ 99593 h 1069040"/>
                <a:gd name="connsiteX2" fmla="*/ 99592 w 1841820"/>
                <a:gd name="connsiteY2" fmla="*/ 0 h 1069040"/>
                <a:gd name="connsiteX3" fmla="*/ 1240673 w 1841820"/>
                <a:gd name="connsiteY3" fmla="*/ 0 h 1069040"/>
                <a:gd name="connsiteX4" fmla="*/ 1240675 w 1841820"/>
                <a:gd name="connsiteY4" fmla="*/ 1 h 1069040"/>
                <a:gd name="connsiteX5" fmla="*/ 1649959 w 1841820"/>
                <a:gd name="connsiteY5" fmla="*/ 1 h 1069040"/>
                <a:gd name="connsiteX6" fmla="*/ 1841820 w 1841820"/>
                <a:gd name="connsiteY6" fmla="*/ 534521 h 1069040"/>
                <a:gd name="connsiteX7" fmla="*/ 1649959 w 1841820"/>
                <a:gd name="connsiteY7" fmla="*/ 1069040 h 1069040"/>
                <a:gd name="connsiteX8" fmla="*/ 984570 w 1841820"/>
                <a:gd name="connsiteY8" fmla="*/ 1069040 h 1069040"/>
                <a:gd name="connsiteX9" fmla="*/ 984570 w 1841820"/>
                <a:gd name="connsiteY9" fmla="*/ 1069040 h 1069040"/>
                <a:gd name="connsiteX10" fmla="*/ 99592 w 1841820"/>
                <a:gd name="connsiteY10" fmla="*/ 1069040 h 1069040"/>
                <a:gd name="connsiteX11" fmla="*/ 0 w 1841820"/>
                <a:gd name="connsiteY11" fmla="*/ 969448 h 1069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41820" h="1069040">
                  <a:moveTo>
                    <a:pt x="0" y="969448"/>
                  </a:moveTo>
                  <a:lnTo>
                    <a:pt x="0" y="99593"/>
                  </a:lnTo>
                  <a:cubicBezTo>
                    <a:pt x="0" y="44590"/>
                    <a:pt x="44589" y="0"/>
                    <a:pt x="99592" y="0"/>
                  </a:cubicBezTo>
                  <a:lnTo>
                    <a:pt x="1240673" y="0"/>
                  </a:lnTo>
                  <a:lnTo>
                    <a:pt x="1240675" y="1"/>
                  </a:lnTo>
                  <a:lnTo>
                    <a:pt x="1649959" y="1"/>
                  </a:lnTo>
                  <a:lnTo>
                    <a:pt x="1841820" y="534521"/>
                  </a:lnTo>
                  <a:lnTo>
                    <a:pt x="1649959" y="1069040"/>
                  </a:lnTo>
                  <a:lnTo>
                    <a:pt x="984570" y="1069040"/>
                  </a:lnTo>
                  <a:lnTo>
                    <a:pt x="984570" y="1069040"/>
                  </a:lnTo>
                  <a:lnTo>
                    <a:pt x="99592" y="1069040"/>
                  </a:lnTo>
                  <a:cubicBezTo>
                    <a:pt x="44589" y="1069040"/>
                    <a:pt x="0" y="1024451"/>
                    <a:pt x="0" y="969448"/>
                  </a:cubicBezTo>
                  <a:close/>
                </a:path>
              </a:pathLst>
            </a:custGeom>
            <a:solidFill>
              <a:schemeClr val="accent4"/>
            </a:solidFill>
            <a:ln w="9525" cap="flat" cmpd="sng" algn="ctr">
              <a:noFill/>
              <a:prstDash val="solid"/>
            </a:ln>
            <a:effectLst/>
          </p:spPr>
          <p:txBody>
            <a:bodyPr vert="vert270" wrap="square" lIns="182880" tIns="45720" rIns="0" bIns="45720" rtlCol="0" anchor="t">
              <a:noAutofit/>
            </a:bodyPr>
            <a:lstStyle/>
            <a:p>
              <a:pPr marL="0" marR="0" lvl="0" indent="0" algn="ctr" defTabSz="456804"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Calibri"/>
                </a:rPr>
                <a:t>Enterprise</a:t>
              </a:r>
              <a:br>
                <a:rPr kumimoji="0" lang="en-US" sz="1600" b="1" i="0" u="none" strike="noStrike" kern="0" cap="none" spc="0" normalizeH="0" baseline="0" noProof="0" dirty="0">
                  <a:ln>
                    <a:noFill/>
                  </a:ln>
                  <a:solidFill>
                    <a:prstClr val="white"/>
                  </a:solidFill>
                  <a:effectLst/>
                  <a:uLnTx/>
                  <a:uFillTx/>
                  <a:latin typeface="Calibri"/>
                </a:rPr>
              </a:br>
              <a:r>
                <a:rPr kumimoji="0" lang="en-US" sz="1600" b="1" i="0" u="none" strike="noStrike" kern="0" cap="none" spc="0" normalizeH="0" baseline="0" noProof="0" dirty="0">
                  <a:ln>
                    <a:noFill/>
                  </a:ln>
                  <a:solidFill>
                    <a:prstClr val="white"/>
                  </a:solidFill>
                  <a:effectLst/>
                  <a:uLnTx/>
                  <a:uFillTx/>
                  <a:latin typeface="Calibri"/>
                </a:rPr>
                <a:t>Agility</a:t>
              </a:r>
            </a:p>
            <a:p>
              <a:pPr marL="0" marR="0" lvl="0" indent="0" algn="ctr" defTabSz="456804" eaLnBrk="1" fontAlgn="auto" latinLnBrk="0" hangingPunct="1">
                <a:lnSpc>
                  <a:spcPct val="100000"/>
                </a:lnSpc>
                <a:spcBef>
                  <a:spcPts val="0"/>
                </a:spcBef>
                <a:spcAft>
                  <a:spcPts val="0"/>
                </a:spcAft>
                <a:buClrTx/>
                <a:buSzTx/>
                <a:buFontTx/>
                <a:buNone/>
                <a:tabLst/>
                <a:defRPr/>
              </a:pPr>
              <a:endParaRPr lang="en-US" sz="1600" b="1" kern="0" dirty="0">
                <a:solidFill>
                  <a:prstClr val="white"/>
                </a:solidFill>
                <a:latin typeface="Calibri"/>
              </a:endParaRPr>
            </a:p>
            <a:p>
              <a:pPr marL="173038" lvl="0" indent="-114300">
                <a:spcBef>
                  <a:spcPts val="600"/>
                </a:spcBef>
                <a:spcAft>
                  <a:spcPts val="600"/>
                </a:spcAft>
                <a:buFont typeface="Wingdings" panose="05000000000000000000" pitchFamily="2" charset="2"/>
                <a:buChar char="§"/>
              </a:pPr>
              <a:r>
                <a:rPr lang="en-US" sz="1050" b="1" dirty="0">
                  <a:solidFill>
                    <a:srgbClr val="FFFFFF"/>
                  </a:solidFill>
                  <a:latin typeface="Avenir LT Std 55 Roman" panose="020B0503020203020204" pitchFamily="34" charset="0"/>
                  <a:ea typeface="Avenir Book" charset="0"/>
                  <a:cs typeface="Avenir Book" charset="0"/>
                </a:rPr>
                <a:t>IT Delivered by Cloud</a:t>
              </a:r>
            </a:p>
            <a:p>
              <a:pPr marL="173038" lvl="0" indent="-114300">
                <a:spcBef>
                  <a:spcPts val="600"/>
                </a:spcBef>
                <a:spcAft>
                  <a:spcPts val="600"/>
                </a:spcAft>
                <a:buFont typeface="Wingdings" panose="05000000000000000000" pitchFamily="2" charset="2"/>
                <a:buChar char="§"/>
              </a:pPr>
              <a:r>
                <a:rPr lang="en-US" sz="1050" b="1" dirty="0">
                  <a:solidFill>
                    <a:srgbClr val="FFFFFF"/>
                  </a:solidFill>
                  <a:latin typeface="Avenir LT Std 55 Roman" panose="020B0503020203020204" pitchFamily="34" charset="0"/>
                  <a:ea typeface="Avenir Book" charset="0"/>
                  <a:cs typeface="Avenir Book" charset="0"/>
                </a:rPr>
                <a:t>Variable Cost</a:t>
              </a:r>
              <a:br>
                <a:rPr lang="en-US" sz="1050" b="1" dirty="0">
                  <a:solidFill>
                    <a:srgbClr val="FFFFFF"/>
                  </a:solidFill>
                  <a:latin typeface="Avenir LT Std 55 Roman" panose="020B0503020203020204" pitchFamily="34" charset="0"/>
                  <a:ea typeface="Avenir Book" charset="0"/>
                  <a:cs typeface="Avenir Book" charset="0"/>
                </a:rPr>
              </a:br>
              <a:r>
                <a:rPr lang="en-US" sz="1050" b="1" dirty="0">
                  <a:solidFill>
                    <a:srgbClr val="FFFFFF"/>
                  </a:solidFill>
                  <a:latin typeface="Avenir LT Std 55 Roman" panose="020B0503020203020204" pitchFamily="34" charset="0"/>
                  <a:ea typeface="Avenir Book" charset="0"/>
                  <a:cs typeface="Avenir Book" charset="0"/>
                </a:rPr>
                <a:t>Ratio of Services</a:t>
              </a:r>
            </a:p>
            <a:p>
              <a:pPr marL="173038" lvl="0" indent="-114300">
                <a:spcBef>
                  <a:spcPts val="600"/>
                </a:spcBef>
                <a:spcAft>
                  <a:spcPts val="600"/>
                </a:spcAft>
                <a:buFont typeface="Wingdings" panose="05000000000000000000" pitchFamily="2" charset="2"/>
                <a:buChar char="§"/>
              </a:pPr>
              <a:r>
                <a:rPr lang="en-US" sz="1050" b="1" dirty="0">
                  <a:solidFill>
                    <a:srgbClr val="FFFFFF"/>
                  </a:solidFill>
                  <a:latin typeface="Avenir LT Std 55 Roman" panose="020B0503020203020204" pitchFamily="34" charset="0"/>
                  <a:ea typeface="Avenir Book" charset="0"/>
                  <a:cs typeface="Avenir Book" charset="0"/>
                </a:rPr>
                <a:t>Services Delivered via Agile</a:t>
              </a:r>
            </a:p>
            <a:p>
              <a:pPr marL="173038" lvl="0" indent="-114300">
                <a:spcBef>
                  <a:spcPts val="600"/>
                </a:spcBef>
                <a:spcAft>
                  <a:spcPts val="600"/>
                </a:spcAft>
                <a:buFont typeface="Wingdings" panose="05000000000000000000" pitchFamily="2" charset="2"/>
                <a:buChar char="§"/>
              </a:pPr>
              <a:r>
                <a:rPr lang="en-US" sz="1050" b="1" dirty="0">
                  <a:solidFill>
                    <a:srgbClr val="FFFFFF"/>
                  </a:solidFill>
                  <a:latin typeface="Avenir LT Std 55 Roman" panose="020B0503020203020204" pitchFamily="34" charset="0"/>
                  <a:ea typeface="Avenir Book" charset="0"/>
                  <a:cs typeface="Avenir Book" charset="0"/>
                </a:rPr>
                <a:t>Discretionary Project Spending</a:t>
              </a:r>
            </a:p>
            <a:p>
              <a:pPr marL="173038" lvl="0" indent="-114300">
                <a:spcBef>
                  <a:spcPts val="600"/>
                </a:spcBef>
                <a:spcAft>
                  <a:spcPts val="600"/>
                </a:spcAft>
                <a:buFont typeface="Wingdings" panose="05000000000000000000" pitchFamily="2" charset="2"/>
                <a:buChar char="§"/>
              </a:pPr>
              <a:r>
                <a:rPr lang="en-US" sz="1050" b="1" dirty="0">
                  <a:solidFill>
                    <a:srgbClr val="FFFFFF"/>
                  </a:solidFill>
                  <a:latin typeface="Avenir LT Std 55 Roman" panose="020B0503020203020204" pitchFamily="34" charset="0"/>
                  <a:ea typeface="Avenir Book" charset="0"/>
                  <a:cs typeface="Avenir Book" charset="0"/>
                </a:rPr>
                <a:t>TBM Data Quality Index</a:t>
              </a:r>
            </a:p>
          </p:txBody>
        </p:sp>
        <p:sp>
          <p:nvSpPr>
            <p:cNvPr id="9" name="Left Bracket 8"/>
            <p:cNvSpPr/>
            <p:nvPr/>
          </p:nvSpPr>
          <p:spPr>
            <a:xfrm rot="5400000">
              <a:off x="4498805" y="-266572"/>
              <a:ext cx="122017" cy="2170471"/>
            </a:xfrm>
            <a:prstGeom prst="leftBracket">
              <a:avLst>
                <a:gd name="adj" fmla="val 0"/>
              </a:avLst>
            </a:prstGeom>
            <a:noFill/>
            <a:ln w="25400" cap="flat" cmpd="sng" algn="ctr">
              <a:solidFill>
                <a:sysClr val="windowText" lastClr="000000"/>
              </a:solidFill>
              <a:prstDash val="solid"/>
            </a:ln>
            <a:effectLst/>
          </p:spPr>
          <p:txBody>
            <a:bodyPr rtlCol="0" anchor="ctr"/>
            <a:lstStyle/>
            <a:p>
              <a:pPr marL="0" marR="0" lvl="0" indent="0" algn="ctr" defTabSz="456804"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prstClr val="black"/>
                </a:solidFill>
                <a:effectLst/>
                <a:uLnTx/>
                <a:uFillTx/>
                <a:latin typeface="Calibri"/>
                <a:ea typeface="+mn-ea"/>
                <a:cs typeface="+mn-cs"/>
              </a:endParaRPr>
            </a:p>
          </p:txBody>
        </p:sp>
        <p:sp>
          <p:nvSpPr>
            <p:cNvPr id="10" name="TextBox 9"/>
            <p:cNvSpPr txBox="1"/>
            <p:nvPr/>
          </p:nvSpPr>
          <p:spPr>
            <a:xfrm>
              <a:off x="4036320" y="683003"/>
              <a:ext cx="1046986" cy="155072"/>
            </a:xfrm>
            <a:prstGeom prst="rect">
              <a:avLst/>
            </a:prstGeom>
            <a:solidFill>
              <a:sysClr val="window" lastClr="FFFFFF"/>
            </a:solidFill>
          </p:spPr>
          <p:txBody>
            <a:bodyPr wrap="none" lIns="45720" tIns="0" rIns="45720" bIns="0" rtlCol="0" anchor="ctr">
              <a:spAutoFit/>
            </a:bodyPr>
            <a:lstStyle/>
            <a:p>
              <a:pPr marL="0" marR="0" lvl="0" indent="0" algn="ctr" defTabSz="456804"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latin typeface="Calibri"/>
                </a:rPr>
                <a:t>Run-the-Business</a:t>
              </a:r>
            </a:p>
          </p:txBody>
        </p:sp>
        <p:sp>
          <p:nvSpPr>
            <p:cNvPr id="11" name="Left Bracket 10"/>
            <p:cNvSpPr/>
            <p:nvPr/>
          </p:nvSpPr>
          <p:spPr>
            <a:xfrm rot="5400000">
              <a:off x="6741493" y="-266572"/>
              <a:ext cx="122017" cy="2170471"/>
            </a:xfrm>
            <a:prstGeom prst="leftBracket">
              <a:avLst>
                <a:gd name="adj" fmla="val 0"/>
              </a:avLst>
            </a:prstGeom>
            <a:noFill/>
            <a:ln w="25400" cap="flat" cmpd="sng" algn="ctr">
              <a:solidFill>
                <a:sysClr val="windowText" lastClr="000000"/>
              </a:solidFill>
              <a:prstDash val="solid"/>
            </a:ln>
            <a:effectLst/>
          </p:spPr>
          <p:txBody>
            <a:bodyPr rtlCol="0" anchor="ctr"/>
            <a:lstStyle/>
            <a:p>
              <a:pPr marL="0" marR="0" lvl="0" indent="0" algn="ctr" defTabSz="456804" eaLnBrk="1" fontAlgn="auto" latinLnBrk="0" hangingPunct="1">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prstClr val="black"/>
                </a:solidFill>
                <a:effectLst/>
                <a:uLnTx/>
                <a:uFillTx/>
                <a:latin typeface="Calibri"/>
                <a:ea typeface="+mn-ea"/>
                <a:cs typeface="+mn-cs"/>
              </a:endParaRPr>
            </a:p>
          </p:txBody>
        </p:sp>
        <p:sp>
          <p:nvSpPr>
            <p:cNvPr id="12" name="TextBox 11"/>
            <p:cNvSpPr txBox="1"/>
            <p:nvPr/>
          </p:nvSpPr>
          <p:spPr>
            <a:xfrm>
              <a:off x="6177681" y="683002"/>
              <a:ext cx="1249642" cy="155072"/>
            </a:xfrm>
            <a:prstGeom prst="rect">
              <a:avLst/>
            </a:prstGeom>
            <a:solidFill>
              <a:sysClr val="window" lastClr="FFFFFF"/>
            </a:solidFill>
          </p:spPr>
          <p:txBody>
            <a:bodyPr wrap="none" lIns="45720" tIns="0" rIns="45720" bIns="0" rtlCol="0" anchor="ctr">
              <a:spAutoFit/>
            </a:bodyPr>
            <a:lstStyle/>
            <a:p>
              <a:pPr marL="0" marR="0" lvl="0" indent="0" algn="ctr" defTabSz="456804"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latin typeface="Calibri"/>
                </a:rPr>
                <a:t>Change-the-Business</a:t>
              </a:r>
            </a:p>
          </p:txBody>
        </p:sp>
      </p:grpSp>
      <p:sp>
        <p:nvSpPr>
          <p:cNvPr id="2" name="Title 1"/>
          <p:cNvSpPr>
            <a:spLocks noGrp="1"/>
          </p:cNvSpPr>
          <p:nvPr>
            <p:ph type="title"/>
          </p:nvPr>
        </p:nvSpPr>
        <p:spPr/>
        <p:txBody>
          <a:bodyPr/>
          <a:lstStyle/>
          <a:p>
            <a:r>
              <a:rPr lang="en-US" dirty="0"/>
              <a:t>Metrics &amp; Key Performance Indicators</a:t>
            </a:r>
          </a:p>
        </p:txBody>
      </p:sp>
    </p:spTree>
    <p:extLst>
      <p:ext uri="{BB962C8B-B14F-4D97-AF65-F5344CB8AC3E}">
        <p14:creationId xmlns:p14="http://schemas.microsoft.com/office/powerpoint/2010/main" val="2603606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print">
            <a:extLst>
              <a:ext uri="{28A0092B-C50C-407E-A947-70E740481C1C}">
                <a14:useLocalDpi xmlns:a14="http://schemas.microsoft.com/office/drawing/2010/main" val="0"/>
              </a:ext>
            </a:extLst>
          </a:blip>
          <a:srcRect t="11603" b="3875"/>
          <a:stretch/>
        </p:blipFill>
        <p:spPr>
          <a:xfrm>
            <a:off x="0" y="0"/>
            <a:ext cx="9144000" cy="5143500"/>
          </a:xfrm>
          <a:prstGeom prst="rect">
            <a:avLst/>
          </a:prstGeom>
        </p:spPr>
      </p:pic>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9307" y="4674762"/>
            <a:ext cx="2196351" cy="357616"/>
          </a:xfrm>
          <a:prstGeom prst="rect">
            <a:avLst/>
          </a:prstGeom>
        </p:spPr>
      </p:pic>
      <p:sp>
        <p:nvSpPr>
          <p:cNvPr id="6" name="TextBox 5"/>
          <p:cNvSpPr txBox="1"/>
          <p:nvPr/>
        </p:nvSpPr>
        <p:spPr>
          <a:xfrm>
            <a:off x="136167" y="173675"/>
            <a:ext cx="3932913" cy="4370427"/>
          </a:xfrm>
          <a:prstGeom prst="rect">
            <a:avLst/>
          </a:prstGeom>
          <a:solidFill>
            <a:srgbClr val="FFFFFF">
              <a:alpha val="60000"/>
            </a:srgbClr>
          </a:solidFill>
        </p:spPr>
        <p:txBody>
          <a:bodyPr wrap="square" lIns="91440" tIns="91440" rIns="91440" bIns="91440" rtlCol="0">
            <a:spAutoFit/>
          </a:bodyPr>
          <a:lstStyle/>
          <a:p>
            <a:pPr marL="112713" indent="-112713"/>
            <a:r>
              <a:rPr lang="en-US" sz="1600" dirty="0"/>
              <a:t>“	Complete transparency is the goal, including the data behind the metrics, so that folks have no question whether these costs are made up based on arbitrary rules. TBM helps us tie dollars to decisions…As they see not just costs but services we provide, what drives their cost, and that their decisions and consumption actually impact the cost structure, it builds these secure, safe places to have all kinds of dialogues and move the transformation agenda forward.”</a:t>
            </a:r>
          </a:p>
          <a:p>
            <a:pPr marL="112713" indent="-112713"/>
            <a:endParaRPr lang="en-US" sz="1600" dirty="0"/>
          </a:p>
          <a:p>
            <a:pPr algn="r"/>
            <a:r>
              <a:rPr lang="fr-FR" sz="1600" b="1" dirty="0"/>
              <a:t>James LaPlaine</a:t>
            </a:r>
            <a:br>
              <a:rPr lang="fr-FR" sz="1600" b="1" dirty="0"/>
            </a:br>
            <a:r>
              <a:rPr lang="fr-FR" sz="1600" dirty="0"/>
              <a:t>Former CIO</a:t>
            </a:r>
            <a:br>
              <a:rPr lang="fr-FR" sz="1600" dirty="0"/>
            </a:br>
            <a:r>
              <a:rPr lang="fr-FR" sz="1600" dirty="0"/>
              <a:t>AOL, Inc.</a:t>
            </a:r>
          </a:p>
        </p:txBody>
      </p:sp>
    </p:spTree>
    <p:extLst>
      <p:ext uri="{BB962C8B-B14F-4D97-AF65-F5344CB8AC3E}">
        <p14:creationId xmlns:p14="http://schemas.microsoft.com/office/powerpoint/2010/main" val="1087321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print">
            <a:extLst>
              <a:ext uri="{28A0092B-C50C-407E-A947-70E740481C1C}">
                <a14:useLocalDpi xmlns:a14="http://schemas.microsoft.com/office/drawing/2010/main" val="0"/>
              </a:ext>
            </a:extLst>
          </a:blip>
          <a:srcRect t="15730"/>
          <a:stretch/>
        </p:blipFill>
        <p:spPr>
          <a:xfrm>
            <a:off x="0" y="0"/>
            <a:ext cx="9144000" cy="5143500"/>
          </a:xfrm>
          <a:prstGeom prst="rect">
            <a:avLst/>
          </a:prstGeom>
        </p:spPr>
      </p:pic>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9307" y="4674762"/>
            <a:ext cx="2196351" cy="357616"/>
          </a:xfrm>
          <a:prstGeom prst="rect">
            <a:avLst/>
          </a:prstGeom>
        </p:spPr>
      </p:pic>
      <p:sp>
        <p:nvSpPr>
          <p:cNvPr id="4" name="TextBox 3"/>
          <p:cNvSpPr txBox="1"/>
          <p:nvPr/>
        </p:nvSpPr>
        <p:spPr>
          <a:xfrm>
            <a:off x="136167" y="173675"/>
            <a:ext cx="3932913" cy="4124206"/>
          </a:xfrm>
          <a:prstGeom prst="rect">
            <a:avLst/>
          </a:prstGeom>
          <a:solidFill>
            <a:srgbClr val="FFFFFF">
              <a:alpha val="60000"/>
            </a:srgbClr>
          </a:solidFill>
        </p:spPr>
        <p:txBody>
          <a:bodyPr wrap="square" lIns="91440" tIns="91440" rIns="91440" bIns="91440" rtlCol="0">
            <a:spAutoFit/>
          </a:bodyPr>
          <a:lstStyle/>
          <a:p>
            <a:pPr marL="112713" indent="-112713"/>
            <a:r>
              <a:rPr lang="en-US" sz="1600" dirty="0"/>
              <a:t>“	Technology Business Management — or TBM — helps companies across industries realize their full potential. The advent of digital, the Internet of Things and mainstream cloud are bringing new innovative capabilities to the forefront. TBM brings the business translation to these technological advances so you and your people can quickly decide on tradeoffs and new investments to improve competitiveness, customer engagement and the bottom line.”</a:t>
            </a:r>
          </a:p>
          <a:p>
            <a:pPr marL="112713" indent="-112713"/>
            <a:endParaRPr lang="en-US" sz="1600" dirty="0"/>
          </a:p>
          <a:p>
            <a:pPr algn="r"/>
            <a:r>
              <a:rPr lang="en-US" sz="1600" b="1" dirty="0"/>
              <a:t>Mike Brady</a:t>
            </a:r>
            <a:br>
              <a:rPr lang="en-US" sz="1600" dirty="0"/>
            </a:br>
            <a:r>
              <a:rPr lang="en-US" sz="1600" dirty="0"/>
              <a:t>Global CTO</a:t>
            </a:r>
            <a:br>
              <a:rPr lang="en-US" sz="1600" dirty="0"/>
            </a:br>
            <a:r>
              <a:rPr lang="en-US" sz="1600" dirty="0"/>
              <a:t>AIG</a:t>
            </a:r>
          </a:p>
        </p:txBody>
      </p:sp>
    </p:spTree>
    <p:extLst>
      <p:ext uri="{BB962C8B-B14F-4D97-AF65-F5344CB8AC3E}">
        <p14:creationId xmlns:p14="http://schemas.microsoft.com/office/powerpoint/2010/main" val="3940528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print">
            <a:extLst>
              <a:ext uri="{28A0092B-C50C-407E-A947-70E740481C1C}">
                <a14:useLocalDpi xmlns:a14="http://schemas.microsoft.com/office/drawing/2010/main" val="0"/>
              </a:ext>
            </a:extLst>
          </a:blip>
          <a:srcRect t="15691"/>
          <a:stretch/>
        </p:blipFill>
        <p:spPr>
          <a:xfrm>
            <a:off x="0" y="0"/>
            <a:ext cx="9144000" cy="5143500"/>
          </a:xfrm>
          <a:prstGeom prst="rect">
            <a:avLst/>
          </a:prstGeom>
        </p:spPr>
      </p:pic>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9307" y="4674762"/>
            <a:ext cx="2196351" cy="357616"/>
          </a:xfrm>
          <a:prstGeom prst="rect">
            <a:avLst/>
          </a:prstGeom>
        </p:spPr>
      </p:pic>
      <p:sp>
        <p:nvSpPr>
          <p:cNvPr id="5" name="TextBox 4"/>
          <p:cNvSpPr txBox="1"/>
          <p:nvPr/>
        </p:nvSpPr>
        <p:spPr>
          <a:xfrm>
            <a:off x="6103434" y="4347561"/>
            <a:ext cx="2958790" cy="738664"/>
          </a:xfrm>
          <a:prstGeom prst="rect">
            <a:avLst/>
          </a:prstGeom>
          <a:noFill/>
        </p:spPr>
        <p:txBody>
          <a:bodyPr wrap="square" rtlCol="0">
            <a:spAutoFit/>
          </a:bodyPr>
          <a:lstStyle/>
          <a:p>
            <a:pPr algn="r"/>
            <a:r>
              <a:rPr lang="en-US" sz="1400" b="1" dirty="0">
                <a:solidFill>
                  <a:schemeClr val="bg1"/>
                </a:solidFill>
              </a:rPr>
              <a:t>Debra Bailey</a:t>
            </a:r>
            <a:br>
              <a:rPr lang="en-US" sz="1400" dirty="0">
                <a:solidFill>
                  <a:schemeClr val="bg1"/>
                </a:solidFill>
              </a:rPr>
            </a:br>
            <a:r>
              <a:rPr lang="en-US" sz="1400" dirty="0">
                <a:solidFill>
                  <a:schemeClr val="bg1"/>
                </a:solidFill>
              </a:rPr>
              <a:t>CIO</a:t>
            </a:r>
            <a:br>
              <a:rPr lang="en-US" sz="1400" dirty="0">
                <a:solidFill>
                  <a:schemeClr val="bg1"/>
                </a:solidFill>
              </a:rPr>
            </a:br>
            <a:r>
              <a:rPr lang="en-US" sz="1400" dirty="0">
                <a:solidFill>
                  <a:schemeClr val="bg1"/>
                </a:solidFill>
              </a:rPr>
              <a:t>Nationwide Building Society</a:t>
            </a:r>
          </a:p>
        </p:txBody>
      </p:sp>
      <p:sp>
        <p:nvSpPr>
          <p:cNvPr id="6" name="TextBox 5"/>
          <p:cNvSpPr txBox="1"/>
          <p:nvPr/>
        </p:nvSpPr>
        <p:spPr>
          <a:xfrm>
            <a:off x="197127" y="173675"/>
            <a:ext cx="4054833" cy="3631763"/>
          </a:xfrm>
          <a:prstGeom prst="rect">
            <a:avLst/>
          </a:prstGeom>
          <a:solidFill>
            <a:srgbClr val="FFFFFF">
              <a:alpha val="60000"/>
            </a:srgbClr>
          </a:solidFill>
        </p:spPr>
        <p:txBody>
          <a:bodyPr wrap="square" lIns="91440" tIns="91440" rIns="91440" bIns="91440" rtlCol="0">
            <a:spAutoFit/>
          </a:bodyPr>
          <a:lstStyle/>
          <a:p>
            <a:pPr marL="112713" indent="-112713"/>
            <a:r>
              <a:rPr lang="en-US" sz="1600" dirty="0"/>
              <a:t>“	We've used Technology Business Management to enable this transparency between IT and the business…and there is no more perception that IT is expensive or that IT is slow, because I have the fact base. It's really helped those business conversations. It's helped us build that fact base for sustainable investment decisions and actually the value case for IT.”</a:t>
            </a:r>
          </a:p>
          <a:p>
            <a:pPr marL="112713" indent="-112713"/>
            <a:endParaRPr lang="en-US" sz="1600" dirty="0"/>
          </a:p>
          <a:p>
            <a:pPr algn="r"/>
            <a:r>
              <a:rPr lang="en-US" sz="1600" b="1" dirty="0"/>
              <a:t>Debra Bailey</a:t>
            </a:r>
            <a:br>
              <a:rPr lang="en-US" sz="1600" dirty="0"/>
            </a:br>
            <a:r>
              <a:rPr lang="en-US" sz="1600" dirty="0"/>
              <a:t>CIO</a:t>
            </a:r>
            <a:br>
              <a:rPr lang="en-US" sz="1600" dirty="0"/>
            </a:br>
            <a:r>
              <a:rPr lang="en-US" sz="1600" dirty="0"/>
              <a:t>Nationwide Building Society</a:t>
            </a:r>
          </a:p>
        </p:txBody>
      </p:sp>
    </p:spTree>
    <p:extLst>
      <p:ext uri="{BB962C8B-B14F-4D97-AF65-F5344CB8AC3E}">
        <p14:creationId xmlns:p14="http://schemas.microsoft.com/office/powerpoint/2010/main" val="3980584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print">
            <a:extLst>
              <a:ext uri="{28A0092B-C50C-407E-A947-70E740481C1C}">
                <a14:useLocalDpi xmlns:a14="http://schemas.microsoft.com/office/drawing/2010/main" val="0"/>
              </a:ext>
            </a:extLst>
          </a:blip>
          <a:srcRect t="4762" r="4661" b="14892"/>
          <a:stretch/>
        </p:blipFill>
        <p:spPr>
          <a:xfrm>
            <a:off x="0" y="0"/>
            <a:ext cx="9144000" cy="5143500"/>
          </a:xfrm>
          <a:prstGeom prst="rect">
            <a:avLst/>
          </a:prstGeom>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9307" y="4674762"/>
            <a:ext cx="2196351" cy="357616"/>
          </a:xfrm>
          <a:prstGeom prst="rect">
            <a:avLst/>
          </a:prstGeom>
        </p:spPr>
      </p:pic>
      <p:sp>
        <p:nvSpPr>
          <p:cNvPr id="6" name="TextBox 5"/>
          <p:cNvSpPr txBox="1"/>
          <p:nvPr/>
        </p:nvSpPr>
        <p:spPr>
          <a:xfrm>
            <a:off x="273327" y="173675"/>
            <a:ext cx="3795399" cy="3385542"/>
          </a:xfrm>
          <a:prstGeom prst="rect">
            <a:avLst/>
          </a:prstGeom>
          <a:solidFill>
            <a:srgbClr val="FFFFFF">
              <a:alpha val="50196"/>
            </a:srgbClr>
          </a:solidFill>
        </p:spPr>
        <p:txBody>
          <a:bodyPr wrap="square" lIns="91440" tIns="91440" rIns="91440" bIns="91440" rtlCol="0">
            <a:spAutoFit/>
          </a:bodyPr>
          <a:lstStyle/>
          <a:p>
            <a:pPr marL="112713" indent="-112713"/>
            <a:r>
              <a:rPr lang="en-US" sz="1600" dirty="0"/>
              <a:t>“	Technology Business Management is new frontier for CIOs. We've got cloud computing and all these great things we should all be looking at, but without TBM I don't know how you are going to be able to justify moving something to the cloud unless you've got transparency on the cost of that particular application or function.”</a:t>
            </a:r>
          </a:p>
          <a:p>
            <a:pPr marL="112713" indent="-112713"/>
            <a:endParaRPr lang="en-US" sz="1600" dirty="0"/>
          </a:p>
          <a:p>
            <a:pPr algn="r"/>
            <a:r>
              <a:rPr lang="en-US" sz="1600" b="1" dirty="0"/>
              <a:t>Larry Godec</a:t>
            </a:r>
            <a:br>
              <a:rPr lang="en-US" sz="1600" dirty="0"/>
            </a:br>
            <a:r>
              <a:rPr lang="en-US" sz="1600" dirty="0"/>
              <a:t>CIO</a:t>
            </a:r>
            <a:br>
              <a:rPr lang="en-US" sz="1600" dirty="0"/>
            </a:br>
            <a:r>
              <a:rPr lang="en-US" sz="1600" dirty="0"/>
              <a:t>First American Financial</a:t>
            </a:r>
          </a:p>
        </p:txBody>
      </p:sp>
    </p:spTree>
    <p:extLst>
      <p:ext uri="{BB962C8B-B14F-4D97-AF65-F5344CB8AC3E}">
        <p14:creationId xmlns:p14="http://schemas.microsoft.com/office/powerpoint/2010/main" val="2749830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DF7E316-6BDF-48B4-9FAB-12957AE249D6}"/>
              </a:ext>
            </a:extLst>
          </p:cNvPr>
          <p:cNvSpPr>
            <a:spLocks noGrp="1"/>
          </p:cNvSpPr>
          <p:nvPr>
            <p:ph type="title"/>
          </p:nvPr>
        </p:nvSpPr>
        <p:spPr/>
        <p:txBody>
          <a:bodyPr>
            <a:normAutofit/>
          </a:bodyPr>
          <a:lstStyle/>
          <a:p>
            <a:r>
              <a:rPr lang="en-US" sz="1800" b="0" dirty="0"/>
              <a:t>Copyright ©2018 Technology Business Management Council, Ltd.</a:t>
            </a:r>
          </a:p>
        </p:txBody>
      </p:sp>
      <p:sp>
        <p:nvSpPr>
          <p:cNvPr id="5" name="Text Placeholder 4">
            <a:extLst>
              <a:ext uri="{FF2B5EF4-FFF2-40B4-BE49-F238E27FC236}">
                <a16:creationId xmlns:a16="http://schemas.microsoft.com/office/drawing/2014/main" id="{6DBE02EE-0C9C-489A-BD19-12446D3D9BDC}"/>
              </a:ext>
            </a:extLst>
          </p:cNvPr>
          <p:cNvSpPr>
            <a:spLocks noGrp="1"/>
          </p:cNvSpPr>
          <p:nvPr>
            <p:ph type="body" sz="quarter" idx="10"/>
          </p:nvPr>
        </p:nvSpPr>
        <p:spPr/>
        <p:txBody>
          <a:bodyPr>
            <a:normAutofit/>
          </a:bodyPr>
          <a:lstStyle/>
          <a:p>
            <a:pPr marL="0" indent="0">
              <a:spcBef>
                <a:spcPts val="0"/>
              </a:spcBef>
              <a:spcAft>
                <a:spcPts val="1000"/>
              </a:spcAft>
              <a:buNone/>
            </a:pPr>
            <a:r>
              <a:rPr lang="en-US" sz="1600" b="1" dirty="0"/>
              <a:t>All rights reserved. Printed in USA. Technology Business Management Council Confidential Information.</a:t>
            </a:r>
            <a:endParaRPr lang="en-US" sz="1600" dirty="0"/>
          </a:p>
          <a:p>
            <a:pPr marL="0" indent="0">
              <a:spcBef>
                <a:spcPts val="0"/>
              </a:spcBef>
              <a:spcAft>
                <a:spcPts val="1000"/>
              </a:spcAft>
              <a:buNone/>
            </a:pPr>
            <a:r>
              <a:rPr lang="en-US" sz="1600" dirty="0">
                <a:solidFill>
                  <a:srgbClr val="FF0000"/>
                </a:solidFill>
              </a:rPr>
              <a:t>The content in this presentation may not be copied, photocopied, reproduced, translated, or reduced to any electronic medium or machine readable form, in whole or in part, without the express written consent of the Technology Business Management Council, Ltd. </a:t>
            </a:r>
            <a:r>
              <a:rPr lang="en-US" sz="1600" dirty="0"/>
              <a:t>The presentation and the content it contains is confidential and may not be distributed without the express written consent of the Technology Business Management Council, Ltd. The information contained in this presentation is subject to change without notice and does not represent a commitment on the part of the Technology Business Management Council, Ltd. </a:t>
            </a:r>
          </a:p>
          <a:p>
            <a:pPr marL="0" indent="0">
              <a:spcBef>
                <a:spcPts val="0"/>
              </a:spcBef>
              <a:spcAft>
                <a:spcPts val="1000"/>
              </a:spcAft>
              <a:buNone/>
            </a:pPr>
            <a:r>
              <a:rPr lang="en-US" sz="1600" b="1" dirty="0"/>
              <a:t>Revision Date</a:t>
            </a:r>
            <a:endParaRPr lang="en-US" sz="1600" dirty="0"/>
          </a:p>
          <a:p>
            <a:pPr marL="0" indent="0">
              <a:spcBef>
                <a:spcPts val="0"/>
              </a:spcBef>
              <a:spcAft>
                <a:spcPts val="1000"/>
              </a:spcAft>
              <a:buNone/>
            </a:pPr>
            <a:r>
              <a:rPr lang="en-US" sz="1600" dirty="0"/>
              <a:t>This deck was updated in April 2018.</a:t>
            </a:r>
          </a:p>
        </p:txBody>
      </p:sp>
    </p:spTree>
    <p:extLst>
      <p:ext uri="{BB962C8B-B14F-4D97-AF65-F5344CB8AC3E}">
        <p14:creationId xmlns:p14="http://schemas.microsoft.com/office/powerpoint/2010/main" val="3522091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print">
            <a:extLst>
              <a:ext uri="{28A0092B-C50C-407E-A947-70E740481C1C}">
                <a14:useLocalDpi xmlns:a14="http://schemas.microsoft.com/office/drawing/2010/main" val="0"/>
              </a:ext>
            </a:extLst>
          </a:blip>
          <a:srcRect t="11013" b="4612"/>
          <a:stretch/>
        </p:blipFill>
        <p:spPr>
          <a:xfrm>
            <a:off x="0" y="0"/>
            <a:ext cx="9144000" cy="5143500"/>
          </a:xfrm>
          <a:prstGeom prst="rect">
            <a:avLst/>
          </a:prstGeom>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9307" y="4674762"/>
            <a:ext cx="2196351" cy="357616"/>
          </a:xfrm>
          <a:prstGeom prst="rect">
            <a:avLst/>
          </a:prstGeom>
        </p:spPr>
      </p:pic>
      <p:sp>
        <p:nvSpPr>
          <p:cNvPr id="2" name="TextBox 1"/>
          <p:cNvSpPr txBox="1"/>
          <p:nvPr/>
        </p:nvSpPr>
        <p:spPr>
          <a:xfrm>
            <a:off x="4378271" y="226860"/>
            <a:ext cx="4588519" cy="4616648"/>
          </a:xfrm>
          <a:prstGeom prst="rect">
            <a:avLst/>
          </a:prstGeom>
          <a:solidFill>
            <a:srgbClr val="FFFFFF">
              <a:alpha val="60000"/>
            </a:srgbClr>
          </a:solidFill>
        </p:spPr>
        <p:txBody>
          <a:bodyPr wrap="square" lIns="91440" tIns="91440" rIns="91440" bIns="91440" rtlCol="0">
            <a:spAutoFit/>
          </a:bodyPr>
          <a:lstStyle/>
          <a:p>
            <a:pPr marL="112713" indent="-112713"/>
            <a:r>
              <a:rPr lang="en-US" sz="1600" dirty="0"/>
              <a:t>“	At Cisco, we recognized that in order to drive business value and innovation, we had to become a competitive provider of IT services. This meant, among other things, that we had to change the very conversations we were having internally and with our business partners. Our conversations and our vocabulary needed to move beyond technologies, SLAs, and projects, to discussions about the tradeoffs needed to balance cost, quality, and value. Only in doing so could we free up resources for business growth and strategic execution. These tradeoffs are at the core of Technology Business Management.”</a:t>
            </a:r>
          </a:p>
          <a:p>
            <a:pPr marL="112713" indent="-112713"/>
            <a:endParaRPr lang="en-US" sz="1600" dirty="0"/>
          </a:p>
          <a:p>
            <a:pPr algn="r"/>
            <a:r>
              <a:rPr lang="en-US" sz="1600" b="1" dirty="0"/>
              <a:t>Rebecca Jacoby</a:t>
            </a:r>
            <a:br>
              <a:rPr lang="en-US" sz="1600" dirty="0"/>
            </a:br>
            <a:r>
              <a:rPr lang="en-US" sz="1600" dirty="0"/>
              <a:t>Chief Operating Officer (Retired)</a:t>
            </a:r>
            <a:br>
              <a:rPr lang="en-US" sz="1600" dirty="0"/>
            </a:br>
            <a:r>
              <a:rPr lang="en-US" sz="1600" dirty="0"/>
              <a:t>Cisco Systems</a:t>
            </a:r>
          </a:p>
        </p:txBody>
      </p:sp>
    </p:spTree>
    <p:extLst>
      <p:ext uri="{BB962C8B-B14F-4D97-AF65-F5344CB8AC3E}">
        <p14:creationId xmlns:p14="http://schemas.microsoft.com/office/powerpoint/2010/main" val="2409773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836357" y="2056123"/>
            <a:ext cx="4850446" cy="941699"/>
          </a:xfrm>
        </p:spPr>
        <p:txBody>
          <a:bodyPr/>
          <a:lstStyle/>
          <a:p>
            <a:pPr>
              <a:lnSpc>
                <a:spcPct val="95000"/>
              </a:lnSpc>
              <a:spcBef>
                <a:spcPts val="1200"/>
              </a:spcBef>
              <a:spcAft>
                <a:spcPts val="1200"/>
              </a:spcAft>
            </a:pPr>
            <a:r>
              <a:rPr lang="en-US" dirty="0"/>
              <a:t>For more, become a member at TBMCouncil.org</a:t>
            </a:r>
          </a:p>
        </p:txBody>
      </p:sp>
    </p:spTree>
    <p:extLst>
      <p:ext uri="{BB962C8B-B14F-4D97-AF65-F5344CB8AC3E}">
        <p14:creationId xmlns:p14="http://schemas.microsoft.com/office/powerpoint/2010/main" val="624784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val 9"/>
          <p:cNvSpPr/>
          <p:nvPr/>
        </p:nvSpPr>
        <p:spPr>
          <a:xfrm>
            <a:off x="1092102" y="3672467"/>
            <a:ext cx="1095340" cy="1095340"/>
          </a:xfrm>
          <a:prstGeom prst="ellipse">
            <a:avLst/>
          </a:prstGeom>
          <a:solidFill>
            <a:schemeClr val="tx1">
              <a:lumMod val="75000"/>
              <a:lumOff val="25000"/>
            </a:schemeClr>
          </a:solidFill>
        </p:spPr>
        <p:txBody>
          <a:bodyPr wrap="none" rtlCol="0" anchor="ctr">
            <a:noAutofit/>
          </a:bodyPr>
          <a:lstStyle/>
          <a:p>
            <a:pPr algn="ctr"/>
            <a:r>
              <a:rPr lang="en-US" sz="1200" dirty="0">
                <a:solidFill>
                  <a:schemeClr val="bg1"/>
                </a:solidFill>
              </a:rPr>
              <a:t>Speed &amp;</a:t>
            </a:r>
          </a:p>
          <a:p>
            <a:pPr algn="ctr"/>
            <a:r>
              <a:rPr lang="en-US" sz="1200" dirty="0">
                <a:solidFill>
                  <a:schemeClr val="bg1"/>
                </a:solidFill>
              </a:rPr>
              <a:t>Agility</a:t>
            </a:r>
          </a:p>
        </p:txBody>
      </p:sp>
      <p:sp>
        <p:nvSpPr>
          <p:cNvPr id="9" name="Oval 8"/>
          <p:cNvSpPr/>
          <p:nvPr/>
        </p:nvSpPr>
        <p:spPr>
          <a:xfrm>
            <a:off x="1870098" y="855241"/>
            <a:ext cx="1352249" cy="1352249"/>
          </a:xfrm>
          <a:prstGeom prst="ellipse">
            <a:avLst/>
          </a:prstGeom>
          <a:solidFill>
            <a:schemeClr val="accent1">
              <a:lumMod val="75000"/>
            </a:schemeClr>
          </a:solidFill>
        </p:spPr>
        <p:txBody>
          <a:bodyPr wrap="none" rtlCol="0" anchor="ctr">
            <a:noAutofit/>
          </a:bodyPr>
          <a:lstStyle/>
          <a:p>
            <a:pPr algn="ctr"/>
            <a:r>
              <a:rPr lang="en-US" sz="2000" dirty="0">
                <a:solidFill>
                  <a:schemeClr val="bg1"/>
                </a:solidFill>
              </a:rPr>
              <a:t>Quality</a:t>
            </a:r>
          </a:p>
        </p:txBody>
      </p:sp>
      <p:sp>
        <p:nvSpPr>
          <p:cNvPr id="3" name="Text Placeholder 2"/>
          <p:cNvSpPr>
            <a:spLocks noGrp="1"/>
          </p:cNvSpPr>
          <p:nvPr>
            <p:ph type="body" sz="quarter" idx="10"/>
          </p:nvPr>
        </p:nvSpPr>
        <p:spPr>
          <a:xfrm>
            <a:off x="3434575" y="466957"/>
            <a:ext cx="5252227" cy="4162193"/>
          </a:xfrm>
        </p:spPr>
        <p:txBody>
          <a:bodyPr>
            <a:normAutofit/>
          </a:bodyPr>
          <a:lstStyle/>
          <a:p>
            <a:pPr>
              <a:spcAft>
                <a:spcPts val="600"/>
              </a:spcAft>
            </a:pPr>
            <a:r>
              <a:rPr lang="en-US" sz="2000" dirty="0"/>
              <a:t>How important is </a:t>
            </a:r>
            <a:r>
              <a:rPr lang="en-US" sz="2000" i="1" dirty="0"/>
              <a:t>really good</a:t>
            </a:r>
            <a:r>
              <a:rPr lang="en-US" sz="2000" dirty="0"/>
              <a:t> IT to the success of your business or mission?</a:t>
            </a:r>
          </a:p>
          <a:p>
            <a:pPr>
              <a:spcAft>
                <a:spcPts val="600"/>
              </a:spcAft>
            </a:pPr>
            <a:r>
              <a:rPr lang="en-US" sz="2000" dirty="0"/>
              <a:t>Do you have enough IT resources (people, skills, money, assets) to meet the demands (wants) of your business partners?</a:t>
            </a:r>
          </a:p>
          <a:p>
            <a:pPr>
              <a:spcAft>
                <a:spcPts val="600"/>
              </a:spcAft>
            </a:pPr>
            <a:r>
              <a:rPr lang="en-US" sz="2000" dirty="0"/>
              <a:t>Do your business partners expect IT decisions to be data-driven?</a:t>
            </a:r>
          </a:p>
          <a:p>
            <a:pPr>
              <a:spcAft>
                <a:spcPts val="600"/>
              </a:spcAft>
            </a:pPr>
            <a:r>
              <a:rPr lang="en-US" sz="2000" dirty="0"/>
              <a:t>Do your business partners want a choice in what they get and how much they pay?</a:t>
            </a:r>
          </a:p>
          <a:p>
            <a:pPr>
              <a:spcAft>
                <a:spcPts val="600"/>
              </a:spcAft>
            </a:pPr>
            <a:r>
              <a:rPr lang="en-US" sz="2000" dirty="0"/>
              <a:t>Are you investing enough in changing the business vs. running it?</a:t>
            </a:r>
          </a:p>
        </p:txBody>
      </p:sp>
      <p:sp>
        <p:nvSpPr>
          <p:cNvPr id="5" name="Oval 4"/>
          <p:cNvSpPr/>
          <p:nvPr/>
        </p:nvSpPr>
        <p:spPr>
          <a:xfrm>
            <a:off x="383500" y="1607465"/>
            <a:ext cx="2259981" cy="2259981"/>
          </a:xfrm>
          <a:prstGeom prst="ellipse">
            <a:avLst/>
          </a:prstGeom>
          <a:solidFill>
            <a:schemeClr val="accent4"/>
          </a:solidFill>
        </p:spPr>
        <p:txBody>
          <a:bodyPr wrap="none" rtlCol="0" anchor="ctr">
            <a:noAutofit/>
          </a:bodyPr>
          <a:lstStyle/>
          <a:p>
            <a:pPr algn="ctr"/>
            <a:r>
              <a:rPr lang="en-US" sz="2400" dirty="0">
                <a:solidFill>
                  <a:schemeClr val="bg1"/>
                </a:solidFill>
                <a:latin typeface="+mn-lt"/>
              </a:rPr>
              <a:t>Value</a:t>
            </a:r>
          </a:p>
        </p:txBody>
      </p:sp>
      <p:sp>
        <p:nvSpPr>
          <p:cNvPr id="6" name="Oval 5"/>
          <p:cNvSpPr/>
          <p:nvPr/>
        </p:nvSpPr>
        <p:spPr>
          <a:xfrm>
            <a:off x="1997375" y="2532389"/>
            <a:ext cx="1411156" cy="1411156"/>
          </a:xfrm>
          <a:prstGeom prst="ellipse">
            <a:avLst/>
          </a:prstGeom>
          <a:solidFill>
            <a:schemeClr val="accent5">
              <a:lumMod val="75000"/>
            </a:schemeClr>
          </a:solidFill>
        </p:spPr>
        <p:txBody>
          <a:bodyPr wrap="none" rtlCol="0" anchor="ctr">
            <a:noAutofit/>
          </a:bodyPr>
          <a:lstStyle/>
          <a:p>
            <a:pPr algn="ctr"/>
            <a:r>
              <a:rPr lang="en-US" sz="1400" dirty="0">
                <a:solidFill>
                  <a:schemeClr val="bg1"/>
                </a:solidFill>
              </a:rPr>
              <a:t>Performance</a:t>
            </a:r>
          </a:p>
          <a:p>
            <a:pPr algn="ctr"/>
            <a:r>
              <a:rPr lang="en-US" sz="1400" dirty="0">
                <a:solidFill>
                  <a:schemeClr val="bg1"/>
                </a:solidFill>
              </a:rPr>
              <a:t>&amp; Risk</a:t>
            </a:r>
          </a:p>
        </p:txBody>
      </p:sp>
      <p:sp>
        <p:nvSpPr>
          <p:cNvPr id="7" name="Oval 6"/>
          <p:cNvSpPr/>
          <p:nvPr/>
        </p:nvSpPr>
        <p:spPr>
          <a:xfrm>
            <a:off x="100541" y="625560"/>
            <a:ext cx="1486598" cy="1486598"/>
          </a:xfrm>
          <a:prstGeom prst="ellipse">
            <a:avLst/>
          </a:prstGeom>
          <a:solidFill>
            <a:schemeClr val="accent4">
              <a:lumMod val="75000"/>
            </a:schemeClr>
          </a:solidFill>
        </p:spPr>
        <p:txBody>
          <a:bodyPr wrap="none" rtlCol="0" anchor="ctr">
            <a:noAutofit/>
          </a:bodyPr>
          <a:lstStyle/>
          <a:p>
            <a:pPr algn="ctr"/>
            <a:r>
              <a:rPr lang="en-US" sz="1400" dirty="0">
                <a:solidFill>
                  <a:schemeClr val="bg1"/>
                </a:solidFill>
                <a:latin typeface="+mn-lt"/>
              </a:rPr>
              <a:t>Demand &amp;</a:t>
            </a:r>
            <a:br>
              <a:rPr lang="en-US" sz="1400" dirty="0">
                <a:solidFill>
                  <a:schemeClr val="bg1"/>
                </a:solidFill>
                <a:latin typeface="+mn-lt"/>
              </a:rPr>
            </a:br>
            <a:r>
              <a:rPr lang="en-US" sz="1400" dirty="0">
                <a:solidFill>
                  <a:schemeClr val="bg1"/>
                </a:solidFill>
                <a:latin typeface="+mn-lt"/>
              </a:rPr>
              <a:t>Consumption</a:t>
            </a:r>
          </a:p>
        </p:txBody>
      </p:sp>
      <p:sp>
        <p:nvSpPr>
          <p:cNvPr id="8" name="Oval 7"/>
          <p:cNvSpPr/>
          <p:nvPr/>
        </p:nvSpPr>
        <p:spPr>
          <a:xfrm>
            <a:off x="-288650" y="2752323"/>
            <a:ext cx="1375319" cy="1375319"/>
          </a:xfrm>
          <a:prstGeom prst="ellipse">
            <a:avLst/>
          </a:prstGeom>
          <a:solidFill>
            <a:schemeClr val="accent6">
              <a:lumMod val="75000"/>
            </a:schemeClr>
          </a:solidFill>
        </p:spPr>
        <p:txBody>
          <a:bodyPr wrap="none" rtlCol="0" anchor="ctr">
            <a:noAutofit/>
          </a:bodyPr>
          <a:lstStyle/>
          <a:p>
            <a:pPr algn="ctr"/>
            <a:r>
              <a:rPr lang="en-US" sz="2400" dirty="0">
                <a:solidFill>
                  <a:schemeClr val="bg1"/>
                </a:solidFill>
                <a:latin typeface="+mn-lt"/>
              </a:rPr>
              <a:t>Cost</a:t>
            </a:r>
          </a:p>
        </p:txBody>
      </p:sp>
    </p:spTree>
    <p:extLst>
      <p:ext uri="{BB962C8B-B14F-4D97-AF65-F5344CB8AC3E}">
        <p14:creationId xmlns:p14="http://schemas.microsoft.com/office/powerpoint/2010/main" val="1636217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subTnLst>
                                    <p:animClr clrSpc="rgb" dir="cw">
                                      <p:cBhvr override="childStyle">
                                        <p:cTn dur="1" fill="hold" display="0" masterRel="nextClick" afterEffect="1"/>
                                        <p:tgtEl>
                                          <p:spTgt spid="3">
                                            <p:txEl>
                                              <p:pRg st="0" end="0"/>
                                            </p:txEl>
                                          </p:spTgt>
                                        </p:tgtEl>
                                        <p:attrNameLst>
                                          <p:attrName>ppt_c</p:attrName>
                                        </p:attrNameLst>
                                      </p:cBhvr>
                                      <p:to>
                                        <a:schemeClr val="accent2"/>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subTnLst>
                                    <p:animClr clrSpc="rgb" dir="cw">
                                      <p:cBhvr override="childStyle">
                                        <p:cTn dur="1" fill="hold" display="0" masterRel="nextClick" afterEffect="1"/>
                                        <p:tgtEl>
                                          <p:spTgt spid="3">
                                            <p:txEl>
                                              <p:pRg st="1" end="1"/>
                                            </p:txEl>
                                          </p:spTgt>
                                        </p:tgtEl>
                                        <p:attrNameLst>
                                          <p:attrName>ppt_c</p:attrName>
                                        </p:attrNameLst>
                                      </p:cBhvr>
                                      <p:to>
                                        <a:schemeClr val="accent2"/>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subTnLst>
                                    <p:animClr clrSpc="rgb" dir="cw">
                                      <p:cBhvr override="childStyle">
                                        <p:cTn dur="1" fill="hold" display="0" masterRel="nextClick" afterEffect="1"/>
                                        <p:tgtEl>
                                          <p:spTgt spid="3">
                                            <p:txEl>
                                              <p:pRg st="2" end="2"/>
                                            </p:txEl>
                                          </p:spTgt>
                                        </p:tgtEl>
                                        <p:attrNameLst>
                                          <p:attrName>ppt_c</p:attrName>
                                        </p:attrNameLst>
                                      </p:cBhvr>
                                      <p:to>
                                        <a:schemeClr val="accent2"/>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subTnLst>
                                    <p:animClr clrSpc="rgb" dir="cw">
                                      <p:cBhvr override="childStyle">
                                        <p:cTn dur="1" fill="hold" display="0" masterRel="nextClick" afterEffect="1"/>
                                        <p:tgtEl>
                                          <p:spTgt spid="3">
                                            <p:txEl>
                                              <p:pRg st="3" end="3"/>
                                            </p:txEl>
                                          </p:spTgt>
                                        </p:tgtEl>
                                        <p:attrNameLst>
                                          <p:attrName>ppt_c</p:attrName>
                                        </p:attrNameLst>
                                      </p:cBhvr>
                                      <p:to>
                                        <a:schemeClr val="accent2"/>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434575" y="466957"/>
            <a:ext cx="5252227" cy="4162193"/>
          </a:xfrm>
        </p:spPr>
        <p:txBody>
          <a:bodyPr/>
          <a:lstStyle/>
          <a:p>
            <a:pPr>
              <a:spcAft>
                <a:spcPts val="600"/>
              </a:spcAft>
            </a:pPr>
            <a:r>
              <a:rPr lang="en-US" dirty="0"/>
              <a:t>Began research in 2012</a:t>
            </a:r>
          </a:p>
          <a:p>
            <a:pPr>
              <a:spcAft>
                <a:spcPts val="600"/>
              </a:spcAft>
            </a:pPr>
            <a:r>
              <a:rPr lang="en-US" dirty="0"/>
              <a:t>Interviewed 22 different board members and 55 principal members</a:t>
            </a:r>
          </a:p>
          <a:p>
            <a:pPr>
              <a:spcAft>
                <a:spcPts val="600"/>
              </a:spcAft>
            </a:pPr>
            <a:r>
              <a:rPr lang="en-US" dirty="0"/>
              <a:t>Developed or participated in 21 TBM award finalist case studies</a:t>
            </a:r>
          </a:p>
          <a:p>
            <a:pPr>
              <a:spcAft>
                <a:spcPts val="600"/>
              </a:spcAft>
            </a:pPr>
            <a:r>
              <a:rPr lang="en-US" dirty="0"/>
              <a:t>Held numerous workshops and ran six different workgroups over two years</a:t>
            </a:r>
          </a:p>
          <a:p>
            <a:pPr>
              <a:spcAft>
                <a:spcPts val="600"/>
              </a:spcAft>
            </a:pPr>
            <a:r>
              <a:rPr lang="en-US" dirty="0"/>
              <a:t>Incorporated lessons learned from TBM software deployments including roadmaps, cost models and outcomes achieved</a:t>
            </a: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7201" y="466957"/>
            <a:ext cx="2774795" cy="4162193"/>
          </a:xfrm>
          <a:prstGeom prst="rect">
            <a:avLst/>
          </a:prstGeom>
        </p:spPr>
      </p:pic>
    </p:spTree>
    <p:extLst>
      <p:ext uri="{BB962C8B-B14F-4D97-AF65-F5344CB8AC3E}">
        <p14:creationId xmlns:p14="http://schemas.microsoft.com/office/powerpoint/2010/main" val="2641619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 name="Rectangle 141"/>
          <p:cNvSpPr/>
          <p:nvPr/>
        </p:nvSpPr>
        <p:spPr>
          <a:xfrm>
            <a:off x="1513969" y="3738873"/>
            <a:ext cx="6116062" cy="457200"/>
          </a:xfrm>
          <a:prstGeom prst="rect">
            <a:avLst/>
          </a:prstGeom>
          <a:solidFill>
            <a:schemeClr val="tx1">
              <a:lumMod val="10000"/>
              <a:lumOff val="90000"/>
            </a:schemeClr>
          </a:solidFill>
          <a:ln w="28575">
            <a:solidFill>
              <a:sysClr val="window" lastClr="FFFFFF"/>
            </a:solidFill>
          </a:ln>
        </p:spPr>
        <p:txBody>
          <a:bodyPr rot="0" spcFirstLastPara="0" vertOverflow="overflow" horzOverflow="overflow" vert="horz" wrap="square" lIns="91440" tIns="137160" rIns="91440" bIns="45720" numCol="1" spcCol="0" rtlCol="0" fromWordArt="0" anchor="ctr" anchorCtr="0" forceAA="0" compatLnSpc="1">
            <a:prstTxWarp prst="textNoShape">
              <a:avLst/>
            </a:prstTxWarp>
            <a:noAutofit/>
          </a:bodyPr>
          <a:lstStyle/>
          <a:p>
            <a:pPr algn="ctr" fontAlgn="auto">
              <a:spcBef>
                <a:spcPts val="0"/>
              </a:spcBef>
              <a:spcAft>
                <a:spcPts val="0"/>
              </a:spcAft>
              <a:defRPr/>
            </a:pPr>
            <a:r>
              <a:rPr lang="en-US" sz="1100" b="1" kern="0" dirty="0">
                <a:solidFill>
                  <a:prstClr val="black">
                    <a:lumMod val="75000"/>
                    <a:lumOff val="25000"/>
                  </a:prstClr>
                </a:solidFill>
                <a:latin typeface="Calibri"/>
              </a:rPr>
              <a:t>Create Transparency</a:t>
            </a:r>
          </a:p>
        </p:txBody>
      </p:sp>
      <p:sp>
        <p:nvSpPr>
          <p:cNvPr id="77" name="Rectangle 76"/>
          <p:cNvSpPr/>
          <p:nvPr/>
        </p:nvSpPr>
        <p:spPr>
          <a:xfrm>
            <a:off x="1513969" y="3738873"/>
            <a:ext cx="6116062" cy="457200"/>
          </a:xfrm>
          <a:prstGeom prst="rect">
            <a:avLst/>
          </a:prstGeom>
          <a:solidFill>
            <a:srgbClr val="FECBAF"/>
          </a:solidFill>
          <a:ln w="28575">
            <a:solidFill>
              <a:sysClr val="window" lastClr="FFFFFF"/>
            </a:solidFill>
          </a:ln>
        </p:spPr>
        <p:txBody>
          <a:bodyPr rot="0" spcFirstLastPara="0" vertOverflow="overflow" horzOverflow="overflow" vert="horz" wrap="square" lIns="91440" tIns="137160" rIns="91440" bIns="45720" numCol="1" spcCol="0" rtlCol="0" fromWordArt="0" anchor="ctr" anchorCtr="0" forceAA="0" compatLnSpc="1">
            <a:prstTxWarp prst="textNoShape">
              <a:avLst/>
            </a:prstTxWarp>
            <a:noAutofit/>
          </a:bodyPr>
          <a:lstStyle/>
          <a:p>
            <a:pPr algn="ctr" fontAlgn="auto">
              <a:spcBef>
                <a:spcPts val="0"/>
              </a:spcBef>
              <a:spcAft>
                <a:spcPts val="0"/>
              </a:spcAft>
              <a:defRPr/>
            </a:pPr>
            <a:r>
              <a:rPr lang="en-US" sz="1100" b="1" kern="0" dirty="0">
                <a:solidFill>
                  <a:prstClr val="black">
                    <a:lumMod val="75000"/>
                    <a:lumOff val="25000"/>
                  </a:prstClr>
                </a:solidFill>
                <a:latin typeface="Calibri"/>
              </a:rPr>
              <a:t>Create Transparency</a:t>
            </a:r>
          </a:p>
        </p:txBody>
      </p:sp>
      <p:sp>
        <p:nvSpPr>
          <p:cNvPr id="143" name="Round Same Side Corner Rectangle 142"/>
          <p:cNvSpPr/>
          <p:nvPr/>
        </p:nvSpPr>
        <p:spPr>
          <a:xfrm>
            <a:off x="1513969" y="4190633"/>
            <a:ext cx="6116063" cy="457200"/>
          </a:xfrm>
          <a:prstGeom prst="round2SameRect">
            <a:avLst>
              <a:gd name="adj1" fmla="val 0"/>
              <a:gd name="adj2" fmla="val 25000"/>
            </a:avLst>
          </a:prstGeom>
          <a:solidFill>
            <a:schemeClr val="bg2">
              <a:lumMod val="75000"/>
            </a:schemeClr>
          </a:solidFill>
          <a:ln w="28575">
            <a:solidFill>
              <a:sysClr val="window" lastClr="FFFFFF"/>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defRPr/>
            </a:pPr>
            <a:r>
              <a:rPr lang="en-US" sz="1100" b="1" kern="0" dirty="0">
                <a:solidFill>
                  <a:prstClr val="white"/>
                </a:solidFill>
                <a:latin typeface="Calibri"/>
              </a:rPr>
              <a:t>Position for Value</a:t>
            </a:r>
          </a:p>
        </p:txBody>
      </p:sp>
      <p:sp>
        <p:nvSpPr>
          <p:cNvPr id="144" name="Freeform 143"/>
          <p:cNvSpPr/>
          <p:nvPr/>
        </p:nvSpPr>
        <p:spPr>
          <a:xfrm rot="5400000">
            <a:off x="1963668" y="2443882"/>
            <a:ext cx="1841820" cy="1069040"/>
          </a:xfrm>
          <a:custGeom>
            <a:avLst/>
            <a:gdLst>
              <a:gd name="connsiteX0" fmla="*/ 0 w 1841820"/>
              <a:gd name="connsiteY0" fmla="*/ 969448 h 1069040"/>
              <a:gd name="connsiteX1" fmla="*/ 0 w 1841820"/>
              <a:gd name="connsiteY1" fmla="*/ 99593 h 1069040"/>
              <a:gd name="connsiteX2" fmla="*/ 99592 w 1841820"/>
              <a:gd name="connsiteY2" fmla="*/ 0 h 1069040"/>
              <a:gd name="connsiteX3" fmla="*/ 1240673 w 1841820"/>
              <a:gd name="connsiteY3" fmla="*/ 0 h 1069040"/>
              <a:gd name="connsiteX4" fmla="*/ 1240675 w 1841820"/>
              <a:gd name="connsiteY4" fmla="*/ 1 h 1069040"/>
              <a:gd name="connsiteX5" fmla="*/ 1649959 w 1841820"/>
              <a:gd name="connsiteY5" fmla="*/ 1 h 1069040"/>
              <a:gd name="connsiteX6" fmla="*/ 1841820 w 1841820"/>
              <a:gd name="connsiteY6" fmla="*/ 534521 h 1069040"/>
              <a:gd name="connsiteX7" fmla="*/ 1649959 w 1841820"/>
              <a:gd name="connsiteY7" fmla="*/ 1069040 h 1069040"/>
              <a:gd name="connsiteX8" fmla="*/ 984570 w 1841820"/>
              <a:gd name="connsiteY8" fmla="*/ 1069040 h 1069040"/>
              <a:gd name="connsiteX9" fmla="*/ 984570 w 1841820"/>
              <a:gd name="connsiteY9" fmla="*/ 1069040 h 1069040"/>
              <a:gd name="connsiteX10" fmla="*/ 99592 w 1841820"/>
              <a:gd name="connsiteY10" fmla="*/ 1069040 h 1069040"/>
              <a:gd name="connsiteX11" fmla="*/ 0 w 1841820"/>
              <a:gd name="connsiteY11" fmla="*/ 969448 h 1069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41820" h="1069040">
                <a:moveTo>
                  <a:pt x="0" y="969448"/>
                </a:moveTo>
                <a:lnTo>
                  <a:pt x="0" y="99593"/>
                </a:lnTo>
                <a:cubicBezTo>
                  <a:pt x="0" y="44590"/>
                  <a:pt x="44589" y="0"/>
                  <a:pt x="99592" y="0"/>
                </a:cubicBezTo>
                <a:lnTo>
                  <a:pt x="1240673" y="0"/>
                </a:lnTo>
                <a:lnTo>
                  <a:pt x="1240675" y="1"/>
                </a:lnTo>
                <a:lnTo>
                  <a:pt x="1649959" y="1"/>
                </a:lnTo>
                <a:lnTo>
                  <a:pt x="1841820" y="534521"/>
                </a:lnTo>
                <a:lnTo>
                  <a:pt x="1649959" y="1069040"/>
                </a:lnTo>
                <a:lnTo>
                  <a:pt x="984570" y="1069040"/>
                </a:lnTo>
                <a:lnTo>
                  <a:pt x="984570" y="1069040"/>
                </a:lnTo>
                <a:lnTo>
                  <a:pt x="99592" y="1069040"/>
                </a:lnTo>
                <a:cubicBezTo>
                  <a:pt x="44589" y="1069040"/>
                  <a:pt x="0" y="1024451"/>
                  <a:pt x="0" y="969448"/>
                </a:cubicBezTo>
                <a:close/>
              </a:path>
            </a:pathLst>
          </a:custGeom>
          <a:solidFill>
            <a:schemeClr val="bg1">
              <a:lumMod val="75000"/>
            </a:schemeClr>
          </a:solidFill>
          <a:ln w="9525" cap="flat" cmpd="sng" algn="ctr">
            <a:noFill/>
            <a:prstDash val="solid"/>
          </a:ln>
          <a:effectLst/>
        </p:spPr>
        <p:txBody>
          <a:bodyPr vert="vert270" wrap="square" lIns="457200" tIns="0" bIns="0" rtlCol="0" anchor="t">
            <a:noAutofit/>
          </a:bodyPr>
          <a:lstStyle/>
          <a:p>
            <a:pPr marL="0" marR="0" lvl="0" indent="0" algn="ctr" defTabSz="456804"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Calibri"/>
                <a:ea typeface="+mn-ea"/>
                <a:cs typeface="+mn-cs"/>
              </a:rPr>
              <a:t>Cost-for-Performance</a:t>
            </a:r>
          </a:p>
        </p:txBody>
      </p:sp>
      <p:sp>
        <p:nvSpPr>
          <p:cNvPr id="145" name="Freeform 144"/>
          <p:cNvSpPr/>
          <p:nvPr/>
        </p:nvSpPr>
        <p:spPr>
          <a:xfrm rot="5400000">
            <a:off x="3080828" y="2443882"/>
            <a:ext cx="1841820" cy="1069040"/>
          </a:xfrm>
          <a:custGeom>
            <a:avLst/>
            <a:gdLst>
              <a:gd name="connsiteX0" fmla="*/ 0 w 1841820"/>
              <a:gd name="connsiteY0" fmla="*/ 969448 h 1069040"/>
              <a:gd name="connsiteX1" fmla="*/ 0 w 1841820"/>
              <a:gd name="connsiteY1" fmla="*/ 99593 h 1069040"/>
              <a:gd name="connsiteX2" fmla="*/ 99592 w 1841820"/>
              <a:gd name="connsiteY2" fmla="*/ 0 h 1069040"/>
              <a:gd name="connsiteX3" fmla="*/ 1240673 w 1841820"/>
              <a:gd name="connsiteY3" fmla="*/ 0 h 1069040"/>
              <a:gd name="connsiteX4" fmla="*/ 1240675 w 1841820"/>
              <a:gd name="connsiteY4" fmla="*/ 1 h 1069040"/>
              <a:gd name="connsiteX5" fmla="*/ 1649959 w 1841820"/>
              <a:gd name="connsiteY5" fmla="*/ 1 h 1069040"/>
              <a:gd name="connsiteX6" fmla="*/ 1841820 w 1841820"/>
              <a:gd name="connsiteY6" fmla="*/ 534521 h 1069040"/>
              <a:gd name="connsiteX7" fmla="*/ 1649959 w 1841820"/>
              <a:gd name="connsiteY7" fmla="*/ 1069040 h 1069040"/>
              <a:gd name="connsiteX8" fmla="*/ 984570 w 1841820"/>
              <a:gd name="connsiteY8" fmla="*/ 1069040 h 1069040"/>
              <a:gd name="connsiteX9" fmla="*/ 984570 w 1841820"/>
              <a:gd name="connsiteY9" fmla="*/ 1069040 h 1069040"/>
              <a:gd name="connsiteX10" fmla="*/ 99592 w 1841820"/>
              <a:gd name="connsiteY10" fmla="*/ 1069040 h 1069040"/>
              <a:gd name="connsiteX11" fmla="*/ 0 w 1841820"/>
              <a:gd name="connsiteY11" fmla="*/ 969448 h 1069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41820" h="1069040">
                <a:moveTo>
                  <a:pt x="0" y="969448"/>
                </a:moveTo>
                <a:lnTo>
                  <a:pt x="0" y="99593"/>
                </a:lnTo>
                <a:cubicBezTo>
                  <a:pt x="0" y="44590"/>
                  <a:pt x="44589" y="0"/>
                  <a:pt x="99592" y="0"/>
                </a:cubicBezTo>
                <a:lnTo>
                  <a:pt x="1240673" y="0"/>
                </a:lnTo>
                <a:lnTo>
                  <a:pt x="1240675" y="1"/>
                </a:lnTo>
                <a:lnTo>
                  <a:pt x="1649959" y="1"/>
                </a:lnTo>
                <a:lnTo>
                  <a:pt x="1841820" y="534521"/>
                </a:lnTo>
                <a:lnTo>
                  <a:pt x="1649959" y="1069040"/>
                </a:lnTo>
                <a:lnTo>
                  <a:pt x="984570" y="1069040"/>
                </a:lnTo>
                <a:lnTo>
                  <a:pt x="984570" y="1069040"/>
                </a:lnTo>
                <a:lnTo>
                  <a:pt x="99592" y="1069040"/>
                </a:lnTo>
                <a:cubicBezTo>
                  <a:pt x="44589" y="1069040"/>
                  <a:pt x="0" y="1024451"/>
                  <a:pt x="0" y="969448"/>
                </a:cubicBezTo>
                <a:close/>
              </a:path>
            </a:pathLst>
          </a:custGeom>
          <a:solidFill>
            <a:schemeClr val="bg1">
              <a:lumMod val="75000"/>
            </a:schemeClr>
          </a:solidFill>
          <a:ln w="9525" cap="flat" cmpd="sng" algn="ctr">
            <a:noFill/>
            <a:prstDash val="solid"/>
          </a:ln>
          <a:effectLst/>
        </p:spPr>
        <p:txBody>
          <a:bodyPr vert="vert270" wrap="square" lIns="457200" tIns="0" bIns="0" rtlCol="0" anchor="t">
            <a:noAutofit/>
          </a:bodyPr>
          <a:lstStyle/>
          <a:p>
            <a:pPr marL="0" marR="0" lvl="0" indent="0" algn="ctr" defTabSz="456804"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Calibri"/>
                <a:ea typeface="+mn-ea"/>
                <a:cs typeface="+mn-cs"/>
              </a:rPr>
              <a:t>Business-</a:t>
            </a:r>
            <a:br>
              <a:rPr kumimoji="0" lang="en-US" sz="1100" b="1" i="0" u="none" strike="noStrike" kern="0" cap="none" spc="0" normalizeH="0" baseline="0" noProof="0" dirty="0">
                <a:ln>
                  <a:noFill/>
                </a:ln>
                <a:solidFill>
                  <a:prstClr val="white"/>
                </a:solidFill>
                <a:effectLst/>
                <a:uLnTx/>
                <a:uFillTx/>
                <a:latin typeface="Calibri"/>
                <a:ea typeface="+mn-ea"/>
                <a:cs typeface="+mn-cs"/>
              </a:rPr>
            </a:br>
            <a:r>
              <a:rPr kumimoji="0" lang="en-US" sz="1100" b="1" i="0" u="none" strike="noStrike" kern="0" cap="none" spc="0" normalizeH="0" baseline="0" noProof="0" dirty="0">
                <a:ln>
                  <a:noFill/>
                </a:ln>
                <a:solidFill>
                  <a:prstClr val="white"/>
                </a:solidFill>
                <a:effectLst/>
                <a:uLnTx/>
                <a:uFillTx/>
                <a:latin typeface="Calibri"/>
                <a:ea typeface="+mn-ea"/>
                <a:cs typeface="+mn-cs"/>
              </a:rPr>
              <a:t>Aligned Portfolio</a:t>
            </a:r>
          </a:p>
        </p:txBody>
      </p:sp>
      <p:sp>
        <p:nvSpPr>
          <p:cNvPr id="146" name="Freeform 145"/>
          <p:cNvSpPr/>
          <p:nvPr/>
        </p:nvSpPr>
        <p:spPr>
          <a:xfrm rot="5400000">
            <a:off x="4197988" y="2443882"/>
            <a:ext cx="1841820" cy="1069040"/>
          </a:xfrm>
          <a:custGeom>
            <a:avLst/>
            <a:gdLst>
              <a:gd name="connsiteX0" fmla="*/ 0 w 1841820"/>
              <a:gd name="connsiteY0" fmla="*/ 969448 h 1069040"/>
              <a:gd name="connsiteX1" fmla="*/ 0 w 1841820"/>
              <a:gd name="connsiteY1" fmla="*/ 99593 h 1069040"/>
              <a:gd name="connsiteX2" fmla="*/ 99592 w 1841820"/>
              <a:gd name="connsiteY2" fmla="*/ 0 h 1069040"/>
              <a:gd name="connsiteX3" fmla="*/ 1240673 w 1841820"/>
              <a:gd name="connsiteY3" fmla="*/ 0 h 1069040"/>
              <a:gd name="connsiteX4" fmla="*/ 1240675 w 1841820"/>
              <a:gd name="connsiteY4" fmla="*/ 1 h 1069040"/>
              <a:gd name="connsiteX5" fmla="*/ 1649959 w 1841820"/>
              <a:gd name="connsiteY5" fmla="*/ 1 h 1069040"/>
              <a:gd name="connsiteX6" fmla="*/ 1841820 w 1841820"/>
              <a:gd name="connsiteY6" fmla="*/ 534521 h 1069040"/>
              <a:gd name="connsiteX7" fmla="*/ 1649959 w 1841820"/>
              <a:gd name="connsiteY7" fmla="*/ 1069040 h 1069040"/>
              <a:gd name="connsiteX8" fmla="*/ 984570 w 1841820"/>
              <a:gd name="connsiteY8" fmla="*/ 1069040 h 1069040"/>
              <a:gd name="connsiteX9" fmla="*/ 984570 w 1841820"/>
              <a:gd name="connsiteY9" fmla="*/ 1069040 h 1069040"/>
              <a:gd name="connsiteX10" fmla="*/ 99592 w 1841820"/>
              <a:gd name="connsiteY10" fmla="*/ 1069040 h 1069040"/>
              <a:gd name="connsiteX11" fmla="*/ 0 w 1841820"/>
              <a:gd name="connsiteY11" fmla="*/ 969448 h 1069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41820" h="1069040">
                <a:moveTo>
                  <a:pt x="0" y="969448"/>
                </a:moveTo>
                <a:lnTo>
                  <a:pt x="0" y="99593"/>
                </a:lnTo>
                <a:cubicBezTo>
                  <a:pt x="0" y="44590"/>
                  <a:pt x="44589" y="0"/>
                  <a:pt x="99592" y="0"/>
                </a:cubicBezTo>
                <a:lnTo>
                  <a:pt x="1240673" y="0"/>
                </a:lnTo>
                <a:lnTo>
                  <a:pt x="1240675" y="1"/>
                </a:lnTo>
                <a:lnTo>
                  <a:pt x="1649959" y="1"/>
                </a:lnTo>
                <a:lnTo>
                  <a:pt x="1841820" y="534521"/>
                </a:lnTo>
                <a:lnTo>
                  <a:pt x="1649959" y="1069040"/>
                </a:lnTo>
                <a:lnTo>
                  <a:pt x="984570" y="1069040"/>
                </a:lnTo>
                <a:lnTo>
                  <a:pt x="984570" y="1069040"/>
                </a:lnTo>
                <a:lnTo>
                  <a:pt x="99592" y="1069040"/>
                </a:lnTo>
                <a:cubicBezTo>
                  <a:pt x="44589" y="1069040"/>
                  <a:pt x="0" y="1024451"/>
                  <a:pt x="0" y="969448"/>
                </a:cubicBezTo>
                <a:close/>
              </a:path>
            </a:pathLst>
          </a:custGeom>
          <a:solidFill>
            <a:schemeClr val="bg1">
              <a:lumMod val="75000"/>
            </a:schemeClr>
          </a:solidFill>
          <a:ln w="9525" cap="flat" cmpd="sng" algn="ctr">
            <a:noFill/>
            <a:prstDash val="solid"/>
          </a:ln>
          <a:effectLst/>
        </p:spPr>
        <p:txBody>
          <a:bodyPr vert="vert270" wrap="square" lIns="457200" tIns="0" bIns="0" rtlCol="0" anchor="t">
            <a:noAutofit/>
          </a:bodyPr>
          <a:lstStyle/>
          <a:p>
            <a:pPr marL="0" marR="0" lvl="0" indent="0" algn="ctr" defTabSz="456804"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Calibri"/>
                <a:ea typeface="+mn-ea"/>
                <a:cs typeface="+mn-cs"/>
              </a:rPr>
              <a:t>Investment in Innovation</a:t>
            </a:r>
          </a:p>
        </p:txBody>
      </p:sp>
      <p:sp>
        <p:nvSpPr>
          <p:cNvPr id="147" name="Freeform 146"/>
          <p:cNvSpPr/>
          <p:nvPr/>
        </p:nvSpPr>
        <p:spPr>
          <a:xfrm rot="5400000">
            <a:off x="5315147" y="2443882"/>
            <a:ext cx="1841820" cy="1069040"/>
          </a:xfrm>
          <a:custGeom>
            <a:avLst/>
            <a:gdLst>
              <a:gd name="connsiteX0" fmla="*/ 0 w 1841820"/>
              <a:gd name="connsiteY0" fmla="*/ 969448 h 1069040"/>
              <a:gd name="connsiteX1" fmla="*/ 0 w 1841820"/>
              <a:gd name="connsiteY1" fmla="*/ 99593 h 1069040"/>
              <a:gd name="connsiteX2" fmla="*/ 99592 w 1841820"/>
              <a:gd name="connsiteY2" fmla="*/ 0 h 1069040"/>
              <a:gd name="connsiteX3" fmla="*/ 1240673 w 1841820"/>
              <a:gd name="connsiteY3" fmla="*/ 0 h 1069040"/>
              <a:gd name="connsiteX4" fmla="*/ 1240675 w 1841820"/>
              <a:gd name="connsiteY4" fmla="*/ 1 h 1069040"/>
              <a:gd name="connsiteX5" fmla="*/ 1649959 w 1841820"/>
              <a:gd name="connsiteY5" fmla="*/ 1 h 1069040"/>
              <a:gd name="connsiteX6" fmla="*/ 1841820 w 1841820"/>
              <a:gd name="connsiteY6" fmla="*/ 534521 h 1069040"/>
              <a:gd name="connsiteX7" fmla="*/ 1649959 w 1841820"/>
              <a:gd name="connsiteY7" fmla="*/ 1069040 h 1069040"/>
              <a:gd name="connsiteX8" fmla="*/ 984570 w 1841820"/>
              <a:gd name="connsiteY8" fmla="*/ 1069040 h 1069040"/>
              <a:gd name="connsiteX9" fmla="*/ 984570 w 1841820"/>
              <a:gd name="connsiteY9" fmla="*/ 1069040 h 1069040"/>
              <a:gd name="connsiteX10" fmla="*/ 99592 w 1841820"/>
              <a:gd name="connsiteY10" fmla="*/ 1069040 h 1069040"/>
              <a:gd name="connsiteX11" fmla="*/ 0 w 1841820"/>
              <a:gd name="connsiteY11" fmla="*/ 969448 h 1069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41820" h="1069040">
                <a:moveTo>
                  <a:pt x="0" y="969448"/>
                </a:moveTo>
                <a:lnTo>
                  <a:pt x="0" y="99593"/>
                </a:lnTo>
                <a:cubicBezTo>
                  <a:pt x="0" y="44590"/>
                  <a:pt x="44589" y="0"/>
                  <a:pt x="99592" y="0"/>
                </a:cubicBezTo>
                <a:lnTo>
                  <a:pt x="1240673" y="0"/>
                </a:lnTo>
                <a:lnTo>
                  <a:pt x="1240675" y="1"/>
                </a:lnTo>
                <a:lnTo>
                  <a:pt x="1649959" y="1"/>
                </a:lnTo>
                <a:lnTo>
                  <a:pt x="1841820" y="534521"/>
                </a:lnTo>
                <a:lnTo>
                  <a:pt x="1649959" y="1069040"/>
                </a:lnTo>
                <a:lnTo>
                  <a:pt x="984570" y="1069040"/>
                </a:lnTo>
                <a:lnTo>
                  <a:pt x="984570" y="1069040"/>
                </a:lnTo>
                <a:lnTo>
                  <a:pt x="99592" y="1069040"/>
                </a:lnTo>
                <a:cubicBezTo>
                  <a:pt x="44589" y="1069040"/>
                  <a:pt x="0" y="1024451"/>
                  <a:pt x="0" y="969448"/>
                </a:cubicBezTo>
                <a:close/>
              </a:path>
            </a:pathLst>
          </a:custGeom>
          <a:solidFill>
            <a:schemeClr val="bg1">
              <a:lumMod val="75000"/>
            </a:schemeClr>
          </a:solidFill>
          <a:ln w="9525" cap="flat" cmpd="sng" algn="ctr">
            <a:noFill/>
            <a:prstDash val="solid"/>
          </a:ln>
          <a:effectLst/>
        </p:spPr>
        <p:txBody>
          <a:bodyPr vert="vert270" wrap="square" lIns="457200" tIns="0" bIns="0" rtlCol="0" anchor="t">
            <a:noAutofit/>
          </a:bodyPr>
          <a:lstStyle/>
          <a:p>
            <a:pPr marL="0" marR="0" lvl="0" indent="0" algn="ctr" defTabSz="456804"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Calibri"/>
                <a:ea typeface="+mn-ea"/>
                <a:cs typeface="+mn-cs"/>
              </a:rPr>
              <a:t>Enterprise</a:t>
            </a:r>
            <a:br>
              <a:rPr kumimoji="0" lang="en-US" sz="1100" b="1" i="0" u="none" strike="noStrike" kern="0" cap="none" spc="0" normalizeH="0" baseline="0" noProof="0" dirty="0">
                <a:ln>
                  <a:noFill/>
                </a:ln>
                <a:solidFill>
                  <a:prstClr val="white"/>
                </a:solidFill>
                <a:effectLst/>
                <a:uLnTx/>
                <a:uFillTx/>
                <a:latin typeface="Calibri"/>
                <a:ea typeface="+mn-ea"/>
                <a:cs typeface="+mn-cs"/>
              </a:rPr>
            </a:br>
            <a:r>
              <a:rPr kumimoji="0" lang="en-US" sz="1100" b="1" i="0" u="none" strike="noStrike" kern="0" cap="none" spc="0" normalizeH="0" baseline="0" noProof="0" dirty="0">
                <a:ln>
                  <a:noFill/>
                </a:ln>
                <a:solidFill>
                  <a:prstClr val="white"/>
                </a:solidFill>
                <a:effectLst/>
                <a:uLnTx/>
                <a:uFillTx/>
                <a:latin typeface="Calibri"/>
                <a:ea typeface="+mn-ea"/>
                <a:cs typeface="+mn-cs"/>
              </a:rPr>
              <a:t>Agility</a:t>
            </a:r>
          </a:p>
        </p:txBody>
      </p:sp>
      <p:sp>
        <p:nvSpPr>
          <p:cNvPr id="148" name="Round Same Side Corner Rectangle 147"/>
          <p:cNvSpPr/>
          <p:nvPr/>
        </p:nvSpPr>
        <p:spPr>
          <a:xfrm>
            <a:off x="1513969" y="850708"/>
            <a:ext cx="6116062" cy="457200"/>
          </a:xfrm>
          <a:prstGeom prst="round2SameRect">
            <a:avLst>
              <a:gd name="adj1" fmla="val 22386"/>
              <a:gd name="adj2" fmla="val 0"/>
            </a:avLst>
          </a:prstGeom>
          <a:solidFill>
            <a:schemeClr val="bg2">
              <a:lumMod val="75000"/>
            </a:schemeClr>
          </a:solidFill>
          <a:ln w="28575">
            <a:solidFill>
              <a:sysClr val="window" lastClr="FFFFFF"/>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defRPr/>
            </a:pPr>
            <a:r>
              <a:rPr lang="en-US" sz="1100" b="1" kern="0" dirty="0">
                <a:solidFill>
                  <a:prstClr val="white"/>
                </a:solidFill>
                <a:latin typeface="Calibri"/>
              </a:rPr>
              <a:t>Continuously Improve</a:t>
            </a:r>
          </a:p>
        </p:txBody>
      </p:sp>
      <p:sp>
        <p:nvSpPr>
          <p:cNvPr id="149" name="Rectangle 148"/>
          <p:cNvSpPr/>
          <p:nvPr/>
        </p:nvSpPr>
        <p:spPr>
          <a:xfrm>
            <a:off x="1513969" y="1755657"/>
            <a:ext cx="817930" cy="1983216"/>
          </a:xfrm>
          <a:prstGeom prst="rect">
            <a:avLst/>
          </a:prstGeom>
          <a:solidFill>
            <a:schemeClr val="tx1">
              <a:lumMod val="10000"/>
              <a:lumOff val="90000"/>
            </a:schemeClr>
          </a:solidFill>
          <a:ln w="28575">
            <a:solidFill>
              <a:sysClr val="window" lastClr="FFFFFF"/>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defRPr/>
            </a:pPr>
            <a:r>
              <a:rPr lang="en-US" sz="1100" b="1" kern="0" dirty="0">
                <a:solidFill>
                  <a:prstClr val="black">
                    <a:lumMod val="75000"/>
                    <a:lumOff val="25000"/>
                  </a:prstClr>
                </a:solidFill>
                <a:latin typeface="Calibri"/>
              </a:rPr>
              <a:t>Deliver</a:t>
            </a:r>
            <a:br>
              <a:rPr lang="en-US" sz="1100" b="1" kern="0" dirty="0">
                <a:solidFill>
                  <a:prstClr val="black">
                    <a:lumMod val="75000"/>
                    <a:lumOff val="25000"/>
                  </a:prstClr>
                </a:solidFill>
                <a:latin typeface="Calibri"/>
              </a:rPr>
            </a:br>
            <a:r>
              <a:rPr lang="en-US" sz="1100" b="1" kern="0" dirty="0">
                <a:solidFill>
                  <a:prstClr val="black">
                    <a:lumMod val="75000"/>
                    <a:lumOff val="25000"/>
                  </a:prstClr>
                </a:solidFill>
                <a:latin typeface="Calibri"/>
              </a:rPr>
              <a:t>Value for Money</a:t>
            </a:r>
          </a:p>
        </p:txBody>
      </p:sp>
      <p:sp>
        <p:nvSpPr>
          <p:cNvPr id="150" name="Rectangle 149"/>
          <p:cNvSpPr/>
          <p:nvPr/>
        </p:nvSpPr>
        <p:spPr>
          <a:xfrm>
            <a:off x="6812100" y="1755657"/>
            <a:ext cx="817930" cy="1983216"/>
          </a:xfrm>
          <a:prstGeom prst="rect">
            <a:avLst/>
          </a:prstGeom>
          <a:solidFill>
            <a:schemeClr val="tx1">
              <a:lumMod val="10000"/>
              <a:lumOff val="90000"/>
            </a:schemeClr>
          </a:solidFill>
          <a:ln w="28575">
            <a:solidFill>
              <a:sysClr val="window" lastClr="FFFFFF"/>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defRPr/>
            </a:pPr>
            <a:r>
              <a:rPr lang="en-US" sz="1100" b="1" kern="0" dirty="0">
                <a:solidFill>
                  <a:prstClr val="black">
                    <a:lumMod val="75000"/>
                    <a:lumOff val="25000"/>
                  </a:prstClr>
                </a:solidFill>
                <a:latin typeface="Calibri"/>
              </a:rPr>
              <a:t>Shape Business</a:t>
            </a:r>
            <a:br>
              <a:rPr lang="en-US" sz="1100" b="1" kern="0" dirty="0">
                <a:solidFill>
                  <a:prstClr val="black">
                    <a:lumMod val="75000"/>
                    <a:lumOff val="25000"/>
                  </a:prstClr>
                </a:solidFill>
                <a:latin typeface="Calibri"/>
              </a:rPr>
            </a:br>
            <a:r>
              <a:rPr lang="en-US" sz="1100" b="1" kern="0" dirty="0">
                <a:solidFill>
                  <a:prstClr val="black">
                    <a:lumMod val="75000"/>
                    <a:lumOff val="25000"/>
                  </a:prstClr>
                </a:solidFill>
                <a:latin typeface="Calibri"/>
              </a:rPr>
              <a:t>Demand</a:t>
            </a:r>
          </a:p>
        </p:txBody>
      </p:sp>
      <p:sp>
        <p:nvSpPr>
          <p:cNvPr id="151" name="Rectangle 150"/>
          <p:cNvSpPr/>
          <p:nvPr/>
        </p:nvSpPr>
        <p:spPr>
          <a:xfrm>
            <a:off x="1513969" y="1299408"/>
            <a:ext cx="6116061" cy="457200"/>
          </a:xfrm>
          <a:prstGeom prst="rect">
            <a:avLst/>
          </a:prstGeom>
          <a:solidFill>
            <a:schemeClr val="tx1">
              <a:lumMod val="10000"/>
              <a:lumOff val="90000"/>
            </a:schemeClr>
          </a:solidFill>
          <a:ln w="28575">
            <a:solidFill>
              <a:sysClr val="window" lastClr="FFFFFF"/>
            </a:solid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defRPr/>
            </a:pPr>
            <a:r>
              <a:rPr lang="en-US" sz="1100" b="1" kern="0" dirty="0">
                <a:solidFill>
                  <a:prstClr val="black">
                    <a:lumMod val="75000"/>
                    <a:lumOff val="25000"/>
                  </a:prstClr>
                </a:solidFill>
                <a:latin typeface="Calibri"/>
              </a:rPr>
              <a:t>Plan and Govern</a:t>
            </a:r>
          </a:p>
        </p:txBody>
      </p:sp>
      <p:sp>
        <p:nvSpPr>
          <p:cNvPr id="152" name="Rectangle 151"/>
          <p:cNvSpPr/>
          <p:nvPr/>
        </p:nvSpPr>
        <p:spPr>
          <a:xfrm>
            <a:off x="2357419" y="3123639"/>
            <a:ext cx="4407408" cy="333632"/>
          </a:xfrm>
          <a:prstGeom prst="rect">
            <a:avLst/>
          </a:prstGeom>
          <a:solidFill>
            <a:schemeClr val="bg2">
              <a:lumMod val="50000"/>
            </a:schemeClr>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Calibri"/>
                <a:ea typeface="+mn-ea"/>
                <a:cs typeface="+mn-cs"/>
              </a:rPr>
              <a:t>Value Conversations</a:t>
            </a:r>
          </a:p>
        </p:txBody>
      </p:sp>
      <p:grpSp>
        <p:nvGrpSpPr>
          <p:cNvPr id="153" name="Group 152"/>
          <p:cNvGrpSpPr/>
          <p:nvPr/>
        </p:nvGrpSpPr>
        <p:grpSpPr>
          <a:xfrm>
            <a:off x="2357418" y="1818991"/>
            <a:ext cx="2170471" cy="203773"/>
            <a:chOff x="2371048" y="1957536"/>
            <a:chExt cx="2170471" cy="203773"/>
          </a:xfrm>
        </p:grpSpPr>
        <p:sp>
          <p:nvSpPr>
            <p:cNvPr id="157" name="Left Bracket 156"/>
            <p:cNvSpPr/>
            <p:nvPr/>
          </p:nvSpPr>
          <p:spPr>
            <a:xfrm rot="5400000">
              <a:off x="3395275" y="1015065"/>
              <a:ext cx="122017" cy="2170471"/>
            </a:xfrm>
            <a:prstGeom prst="leftBracket">
              <a:avLst>
                <a:gd name="adj" fmla="val 0"/>
              </a:avLst>
            </a:prstGeom>
            <a:noFill/>
            <a:ln w="25400" cap="flat" cmpd="sng" algn="ctr">
              <a:solidFill>
                <a:sysClr val="windowText" lastClr="000000"/>
              </a:solidFill>
              <a:prstDash val="solid"/>
            </a:ln>
            <a:effectLst/>
          </p:spPr>
          <p:txBody>
            <a:bodyPr rtlCol="0" anchor="ctr"/>
            <a:lstStyle/>
            <a:p>
              <a:pPr marL="0" marR="0" lvl="0" indent="0" algn="ctr" defTabSz="4568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
          <p:nvSpPr>
            <p:cNvPr id="158" name="TextBox 157"/>
            <p:cNvSpPr txBox="1"/>
            <p:nvPr/>
          </p:nvSpPr>
          <p:spPr>
            <a:xfrm>
              <a:off x="2913987" y="1957536"/>
              <a:ext cx="1084592" cy="169277"/>
            </a:xfrm>
            <a:prstGeom prst="rect">
              <a:avLst/>
            </a:prstGeom>
            <a:solidFill>
              <a:sysClr val="window" lastClr="FFFFFF"/>
            </a:solidFill>
          </p:spPr>
          <p:txBody>
            <a:bodyPr wrap="none" lIns="45720" tIns="0" rIns="45720" bIns="0" rtlCol="0">
              <a:spAutoFit/>
            </a:bodyPr>
            <a:lstStyle/>
            <a:p>
              <a:pPr marL="0" marR="0" lvl="0" indent="0" defTabSz="456804"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a:rPr>
                <a:t>Run-the-Business</a:t>
              </a:r>
            </a:p>
          </p:txBody>
        </p:sp>
      </p:grpSp>
      <p:grpSp>
        <p:nvGrpSpPr>
          <p:cNvPr id="154" name="Group 153"/>
          <p:cNvGrpSpPr/>
          <p:nvPr/>
        </p:nvGrpSpPr>
        <p:grpSpPr>
          <a:xfrm>
            <a:off x="4600106" y="1818991"/>
            <a:ext cx="2170471" cy="203773"/>
            <a:chOff x="4613736" y="1957536"/>
            <a:chExt cx="2170471" cy="203773"/>
          </a:xfrm>
        </p:grpSpPr>
        <p:sp>
          <p:nvSpPr>
            <p:cNvPr id="155" name="Left Bracket 154"/>
            <p:cNvSpPr/>
            <p:nvPr/>
          </p:nvSpPr>
          <p:spPr>
            <a:xfrm rot="5400000">
              <a:off x="5637963" y="1015065"/>
              <a:ext cx="122017" cy="2170471"/>
            </a:xfrm>
            <a:prstGeom prst="leftBracket">
              <a:avLst>
                <a:gd name="adj" fmla="val 0"/>
              </a:avLst>
            </a:prstGeom>
            <a:noFill/>
            <a:ln w="25400" cap="flat" cmpd="sng" algn="ctr">
              <a:solidFill>
                <a:sysClr val="windowText" lastClr="000000"/>
              </a:solidFill>
              <a:prstDash val="solid"/>
            </a:ln>
            <a:effectLst/>
          </p:spPr>
          <p:txBody>
            <a:bodyPr rtlCol="0" anchor="ctr"/>
            <a:lstStyle/>
            <a:p>
              <a:pPr marL="0" marR="0" lvl="0" indent="0" algn="ctr" defTabSz="4568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156" name="TextBox 155"/>
            <p:cNvSpPr txBox="1"/>
            <p:nvPr/>
          </p:nvSpPr>
          <p:spPr>
            <a:xfrm>
              <a:off x="5055686" y="1957536"/>
              <a:ext cx="1286571" cy="169277"/>
            </a:xfrm>
            <a:prstGeom prst="rect">
              <a:avLst/>
            </a:prstGeom>
            <a:solidFill>
              <a:sysClr val="window" lastClr="FFFFFF"/>
            </a:solidFill>
          </p:spPr>
          <p:txBody>
            <a:bodyPr wrap="none" lIns="45720" tIns="0" rIns="45720" bIns="0" rtlCol="0">
              <a:spAutoFit/>
            </a:bodyPr>
            <a:lstStyle/>
            <a:p>
              <a:pPr marL="0" marR="0" lvl="0" indent="0" defTabSz="456804"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a:rPr>
                <a:t>Change-the-Business</a:t>
              </a:r>
            </a:p>
          </p:txBody>
        </p:sp>
      </p:grpSp>
      <p:sp>
        <p:nvSpPr>
          <p:cNvPr id="78" name="Round Same Side Corner Rectangle 77"/>
          <p:cNvSpPr/>
          <p:nvPr/>
        </p:nvSpPr>
        <p:spPr>
          <a:xfrm>
            <a:off x="1513969" y="4190633"/>
            <a:ext cx="6116063" cy="457200"/>
          </a:xfrm>
          <a:prstGeom prst="round2SameRect">
            <a:avLst>
              <a:gd name="adj1" fmla="val 0"/>
              <a:gd name="adj2" fmla="val 25000"/>
            </a:avLst>
          </a:prstGeom>
          <a:solidFill>
            <a:srgbClr val="F86734"/>
          </a:solidFill>
          <a:ln w="28575">
            <a:solidFill>
              <a:sysClr val="window" lastClr="FFFFFF"/>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defRPr/>
            </a:pPr>
            <a:r>
              <a:rPr lang="en-US" sz="1100" b="1" kern="0" dirty="0">
                <a:solidFill>
                  <a:prstClr val="white"/>
                </a:solidFill>
                <a:latin typeface="Calibri"/>
              </a:rPr>
              <a:t>Position for Value</a:t>
            </a:r>
          </a:p>
        </p:txBody>
      </p:sp>
      <p:sp>
        <p:nvSpPr>
          <p:cNvPr id="2" name="Title 1"/>
          <p:cNvSpPr>
            <a:spLocks noGrp="1"/>
          </p:cNvSpPr>
          <p:nvPr>
            <p:ph type="title"/>
          </p:nvPr>
        </p:nvSpPr>
        <p:spPr/>
        <p:txBody>
          <a:bodyPr/>
          <a:lstStyle/>
          <a:p>
            <a:r>
              <a:rPr lang="en-US" dirty="0"/>
              <a:t>TBM Framework</a:t>
            </a:r>
          </a:p>
        </p:txBody>
      </p:sp>
      <p:sp>
        <p:nvSpPr>
          <p:cNvPr id="113" name="Round Same Side Corner Rectangle 112"/>
          <p:cNvSpPr/>
          <p:nvPr/>
        </p:nvSpPr>
        <p:spPr>
          <a:xfrm>
            <a:off x="1513969" y="850708"/>
            <a:ext cx="6116062" cy="457200"/>
          </a:xfrm>
          <a:prstGeom prst="round2SameRect">
            <a:avLst>
              <a:gd name="adj1" fmla="val 22386"/>
              <a:gd name="adj2" fmla="val 0"/>
            </a:avLst>
          </a:prstGeom>
          <a:solidFill>
            <a:srgbClr val="F86734"/>
          </a:solidFill>
          <a:ln w="28575">
            <a:solidFill>
              <a:sysClr val="window" lastClr="FFFFFF"/>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defRPr/>
            </a:pPr>
            <a:r>
              <a:rPr lang="en-US" sz="1100" b="1" kern="0" dirty="0">
                <a:solidFill>
                  <a:prstClr val="white"/>
                </a:solidFill>
                <a:latin typeface="Calibri"/>
              </a:rPr>
              <a:t>Continuously Improve</a:t>
            </a:r>
          </a:p>
        </p:txBody>
      </p:sp>
      <p:sp>
        <p:nvSpPr>
          <p:cNvPr id="114" name="Rectangle 113"/>
          <p:cNvSpPr/>
          <p:nvPr/>
        </p:nvSpPr>
        <p:spPr>
          <a:xfrm>
            <a:off x="1513969" y="1755657"/>
            <a:ext cx="817930" cy="1983216"/>
          </a:xfrm>
          <a:prstGeom prst="rect">
            <a:avLst/>
          </a:prstGeom>
          <a:solidFill>
            <a:srgbClr val="FECBAF"/>
          </a:solidFill>
          <a:ln w="28575">
            <a:solidFill>
              <a:sysClr val="window" lastClr="FFFFFF"/>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defRPr/>
            </a:pPr>
            <a:r>
              <a:rPr lang="en-US" sz="1100" b="1" kern="0" dirty="0">
                <a:solidFill>
                  <a:prstClr val="black">
                    <a:lumMod val="75000"/>
                    <a:lumOff val="25000"/>
                  </a:prstClr>
                </a:solidFill>
                <a:latin typeface="Calibri"/>
              </a:rPr>
              <a:t>Deliver</a:t>
            </a:r>
            <a:br>
              <a:rPr lang="en-US" sz="1100" b="1" kern="0" dirty="0">
                <a:solidFill>
                  <a:prstClr val="black">
                    <a:lumMod val="75000"/>
                    <a:lumOff val="25000"/>
                  </a:prstClr>
                </a:solidFill>
                <a:latin typeface="Calibri"/>
              </a:rPr>
            </a:br>
            <a:r>
              <a:rPr lang="en-US" sz="1100" b="1" kern="0" dirty="0">
                <a:solidFill>
                  <a:prstClr val="black">
                    <a:lumMod val="75000"/>
                    <a:lumOff val="25000"/>
                  </a:prstClr>
                </a:solidFill>
                <a:latin typeface="Calibri"/>
              </a:rPr>
              <a:t>Value for Money</a:t>
            </a:r>
          </a:p>
        </p:txBody>
      </p:sp>
      <p:sp>
        <p:nvSpPr>
          <p:cNvPr id="115" name="Rectangle 114"/>
          <p:cNvSpPr/>
          <p:nvPr/>
        </p:nvSpPr>
        <p:spPr>
          <a:xfrm>
            <a:off x="6812100" y="1755657"/>
            <a:ext cx="817930" cy="1983216"/>
          </a:xfrm>
          <a:prstGeom prst="rect">
            <a:avLst/>
          </a:prstGeom>
          <a:solidFill>
            <a:srgbClr val="FECBAF"/>
          </a:solidFill>
          <a:ln w="28575">
            <a:solidFill>
              <a:sysClr val="window" lastClr="FFFFFF"/>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defRPr/>
            </a:pPr>
            <a:r>
              <a:rPr lang="en-US" sz="1100" b="1" kern="0" dirty="0">
                <a:solidFill>
                  <a:prstClr val="black">
                    <a:lumMod val="75000"/>
                    <a:lumOff val="25000"/>
                  </a:prstClr>
                </a:solidFill>
                <a:latin typeface="Calibri"/>
              </a:rPr>
              <a:t>Shape Business</a:t>
            </a:r>
            <a:br>
              <a:rPr lang="en-US" sz="1100" b="1" kern="0" dirty="0">
                <a:solidFill>
                  <a:prstClr val="black">
                    <a:lumMod val="75000"/>
                    <a:lumOff val="25000"/>
                  </a:prstClr>
                </a:solidFill>
                <a:latin typeface="Calibri"/>
              </a:rPr>
            </a:br>
            <a:r>
              <a:rPr lang="en-US" sz="1100" b="1" kern="0" dirty="0">
                <a:solidFill>
                  <a:prstClr val="black">
                    <a:lumMod val="75000"/>
                    <a:lumOff val="25000"/>
                  </a:prstClr>
                </a:solidFill>
                <a:latin typeface="Calibri"/>
              </a:rPr>
              <a:t>Demand</a:t>
            </a:r>
          </a:p>
        </p:txBody>
      </p:sp>
      <p:sp>
        <p:nvSpPr>
          <p:cNvPr id="116" name="Rectangle 115"/>
          <p:cNvSpPr/>
          <p:nvPr/>
        </p:nvSpPr>
        <p:spPr>
          <a:xfrm>
            <a:off x="1513969" y="1299408"/>
            <a:ext cx="6116061" cy="457200"/>
          </a:xfrm>
          <a:prstGeom prst="rect">
            <a:avLst/>
          </a:prstGeom>
          <a:solidFill>
            <a:srgbClr val="FECBAF"/>
          </a:solidFill>
          <a:ln w="28575">
            <a:solidFill>
              <a:sysClr val="window" lastClr="FFFFFF"/>
            </a:solid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auto">
              <a:spcBef>
                <a:spcPts val="0"/>
              </a:spcBef>
              <a:spcAft>
                <a:spcPts val="0"/>
              </a:spcAft>
              <a:defRPr/>
            </a:pPr>
            <a:r>
              <a:rPr lang="en-US" sz="1100" b="1" kern="0" dirty="0">
                <a:solidFill>
                  <a:prstClr val="black">
                    <a:lumMod val="75000"/>
                    <a:lumOff val="25000"/>
                  </a:prstClr>
                </a:solidFill>
                <a:latin typeface="Calibri"/>
              </a:rPr>
              <a:t>Plan and Govern</a:t>
            </a:r>
          </a:p>
        </p:txBody>
      </p:sp>
      <p:grpSp>
        <p:nvGrpSpPr>
          <p:cNvPr id="7" name="Group 6"/>
          <p:cNvGrpSpPr/>
          <p:nvPr/>
        </p:nvGrpSpPr>
        <p:grpSpPr>
          <a:xfrm>
            <a:off x="2350058" y="1818991"/>
            <a:ext cx="2186200" cy="2080321"/>
            <a:chOff x="2350058" y="1818991"/>
            <a:chExt cx="2186200" cy="2080321"/>
          </a:xfrm>
        </p:grpSpPr>
        <p:sp>
          <p:nvSpPr>
            <p:cNvPr id="79" name="Freeform 78"/>
            <p:cNvSpPr/>
            <p:nvPr/>
          </p:nvSpPr>
          <p:spPr>
            <a:xfrm rot="5400000">
              <a:off x="1963668" y="2443882"/>
              <a:ext cx="1841820" cy="1069040"/>
            </a:xfrm>
            <a:custGeom>
              <a:avLst/>
              <a:gdLst>
                <a:gd name="connsiteX0" fmla="*/ 0 w 1841820"/>
                <a:gd name="connsiteY0" fmla="*/ 969448 h 1069040"/>
                <a:gd name="connsiteX1" fmla="*/ 0 w 1841820"/>
                <a:gd name="connsiteY1" fmla="*/ 99593 h 1069040"/>
                <a:gd name="connsiteX2" fmla="*/ 99592 w 1841820"/>
                <a:gd name="connsiteY2" fmla="*/ 0 h 1069040"/>
                <a:gd name="connsiteX3" fmla="*/ 1240673 w 1841820"/>
                <a:gd name="connsiteY3" fmla="*/ 0 h 1069040"/>
                <a:gd name="connsiteX4" fmla="*/ 1240675 w 1841820"/>
                <a:gd name="connsiteY4" fmla="*/ 1 h 1069040"/>
                <a:gd name="connsiteX5" fmla="*/ 1649959 w 1841820"/>
                <a:gd name="connsiteY5" fmla="*/ 1 h 1069040"/>
                <a:gd name="connsiteX6" fmla="*/ 1841820 w 1841820"/>
                <a:gd name="connsiteY6" fmla="*/ 534521 h 1069040"/>
                <a:gd name="connsiteX7" fmla="*/ 1649959 w 1841820"/>
                <a:gd name="connsiteY7" fmla="*/ 1069040 h 1069040"/>
                <a:gd name="connsiteX8" fmla="*/ 984570 w 1841820"/>
                <a:gd name="connsiteY8" fmla="*/ 1069040 h 1069040"/>
                <a:gd name="connsiteX9" fmla="*/ 984570 w 1841820"/>
                <a:gd name="connsiteY9" fmla="*/ 1069040 h 1069040"/>
                <a:gd name="connsiteX10" fmla="*/ 99592 w 1841820"/>
                <a:gd name="connsiteY10" fmla="*/ 1069040 h 1069040"/>
                <a:gd name="connsiteX11" fmla="*/ 0 w 1841820"/>
                <a:gd name="connsiteY11" fmla="*/ 969448 h 1069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41820" h="1069040">
                  <a:moveTo>
                    <a:pt x="0" y="969448"/>
                  </a:moveTo>
                  <a:lnTo>
                    <a:pt x="0" y="99593"/>
                  </a:lnTo>
                  <a:cubicBezTo>
                    <a:pt x="0" y="44590"/>
                    <a:pt x="44589" y="0"/>
                    <a:pt x="99592" y="0"/>
                  </a:cubicBezTo>
                  <a:lnTo>
                    <a:pt x="1240673" y="0"/>
                  </a:lnTo>
                  <a:lnTo>
                    <a:pt x="1240675" y="1"/>
                  </a:lnTo>
                  <a:lnTo>
                    <a:pt x="1649959" y="1"/>
                  </a:lnTo>
                  <a:lnTo>
                    <a:pt x="1841820" y="534521"/>
                  </a:lnTo>
                  <a:lnTo>
                    <a:pt x="1649959" y="1069040"/>
                  </a:lnTo>
                  <a:lnTo>
                    <a:pt x="984570" y="1069040"/>
                  </a:lnTo>
                  <a:lnTo>
                    <a:pt x="984570" y="1069040"/>
                  </a:lnTo>
                  <a:lnTo>
                    <a:pt x="99592" y="1069040"/>
                  </a:lnTo>
                  <a:cubicBezTo>
                    <a:pt x="44589" y="1069040"/>
                    <a:pt x="0" y="1024451"/>
                    <a:pt x="0" y="969448"/>
                  </a:cubicBezTo>
                  <a:close/>
                </a:path>
              </a:pathLst>
            </a:custGeom>
            <a:solidFill>
              <a:srgbClr val="FC9162"/>
            </a:solidFill>
            <a:ln w="9525" cap="flat" cmpd="sng" algn="ctr">
              <a:noFill/>
              <a:prstDash val="solid"/>
            </a:ln>
            <a:effectLst/>
          </p:spPr>
          <p:txBody>
            <a:bodyPr vert="vert270" wrap="square" lIns="457200" tIns="0" bIns="0" rtlCol="0" anchor="t">
              <a:noAutofit/>
            </a:bodyPr>
            <a:lstStyle/>
            <a:p>
              <a:pPr marL="0" marR="0" lvl="0" indent="0" algn="ctr" defTabSz="456804"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Calibri"/>
                  <a:ea typeface="+mn-ea"/>
                  <a:cs typeface="+mn-cs"/>
                </a:rPr>
                <a:t>Cost-for-Performance</a:t>
              </a:r>
            </a:p>
          </p:txBody>
        </p:sp>
        <p:sp>
          <p:nvSpPr>
            <p:cNvPr id="80" name="Freeform 79"/>
            <p:cNvSpPr/>
            <p:nvPr/>
          </p:nvSpPr>
          <p:spPr>
            <a:xfrm rot="5400000">
              <a:off x="3080828" y="2443882"/>
              <a:ext cx="1841820" cy="1069040"/>
            </a:xfrm>
            <a:custGeom>
              <a:avLst/>
              <a:gdLst>
                <a:gd name="connsiteX0" fmla="*/ 0 w 1841820"/>
                <a:gd name="connsiteY0" fmla="*/ 969448 h 1069040"/>
                <a:gd name="connsiteX1" fmla="*/ 0 w 1841820"/>
                <a:gd name="connsiteY1" fmla="*/ 99593 h 1069040"/>
                <a:gd name="connsiteX2" fmla="*/ 99592 w 1841820"/>
                <a:gd name="connsiteY2" fmla="*/ 0 h 1069040"/>
                <a:gd name="connsiteX3" fmla="*/ 1240673 w 1841820"/>
                <a:gd name="connsiteY3" fmla="*/ 0 h 1069040"/>
                <a:gd name="connsiteX4" fmla="*/ 1240675 w 1841820"/>
                <a:gd name="connsiteY4" fmla="*/ 1 h 1069040"/>
                <a:gd name="connsiteX5" fmla="*/ 1649959 w 1841820"/>
                <a:gd name="connsiteY5" fmla="*/ 1 h 1069040"/>
                <a:gd name="connsiteX6" fmla="*/ 1841820 w 1841820"/>
                <a:gd name="connsiteY6" fmla="*/ 534521 h 1069040"/>
                <a:gd name="connsiteX7" fmla="*/ 1649959 w 1841820"/>
                <a:gd name="connsiteY7" fmla="*/ 1069040 h 1069040"/>
                <a:gd name="connsiteX8" fmla="*/ 984570 w 1841820"/>
                <a:gd name="connsiteY8" fmla="*/ 1069040 h 1069040"/>
                <a:gd name="connsiteX9" fmla="*/ 984570 w 1841820"/>
                <a:gd name="connsiteY9" fmla="*/ 1069040 h 1069040"/>
                <a:gd name="connsiteX10" fmla="*/ 99592 w 1841820"/>
                <a:gd name="connsiteY10" fmla="*/ 1069040 h 1069040"/>
                <a:gd name="connsiteX11" fmla="*/ 0 w 1841820"/>
                <a:gd name="connsiteY11" fmla="*/ 969448 h 1069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41820" h="1069040">
                  <a:moveTo>
                    <a:pt x="0" y="969448"/>
                  </a:moveTo>
                  <a:lnTo>
                    <a:pt x="0" y="99593"/>
                  </a:lnTo>
                  <a:cubicBezTo>
                    <a:pt x="0" y="44590"/>
                    <a:pt x="44589" y="0"/>
                    <a:pt x="99592" y="0"/>
                  </a:cubicBezTo>
                  <a:lnTo>
                    <a:pt x="1240673" y="0"/>
                  </a:lnTo>
                  <a:lnTo>
                    <a:pt x="1240675" y="1"/>
                  </a:lnTo>
                  <a:lnTo>
                    <a:pt x="1649959" y="1"/>
                  </a:lnTo>
                  <a:lnTo>
                    <a:pt x="1841820" y="534521"/>
                  </a:lnTo>
                  <a:lnTo>
                    <a:pt x="1649959" y="1069040"/>
                  </a:lnTo>
                  <a:lnTo>
                    <a:pt x="984570" y="1069040"/>
                  </a:lnTo>
                  <a:lnTo>
                    <a:pt x="984570" y="1069040"/>
                  </a:lnTo>
                  <a:lnTo>
                    <a:pt x="99592" y="1069040"/>
                  </a:lnTo>
                  <a:cubicBezTo>
                    <a:pt x="44589" y="1069040"/>
                    <a:pt x="0" y="1024451"/>
                    <a:pt x="0" y="969448"/>
                  </a:cubicBezTo>
                  <a:close/>
                </a:path>
              </a:pathLst>
            </a:custGeom>
            <a:solidFill>
              <a:srgbClr val="FC9162"/>
            </a:solidFill>
            <a:ln w="9525" cap="flat" cmpd="sng" algn="ctr">
              <a:noFill/>
              <a:prstDash val="solid"/>
            </a:ln>
            <a:effectLst/>
          </p:spPr>
          <p:txBody>
            <a:bodyPr vert="vert270" wrap="square" lIns="457200" tIns="0" bIns="0" rtlCol="0" anchor="t">
              <a:noAutofit/>
            </a:bodyPr>
            <a:lstStyle/>
            <a:p>
              <a:pPr marL="0" marR="0" lvl="0" indent="0" algn="ctr" defTabSz="456804"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Calibri"/>
                  <a:ea typeface="+mn-ea"/>
                  <a:cs typeface="+mn-cs"/>
                </a:rPr>
                <a:t>Business-</a:t>
              </a:r>
              <a:br>
                <a:rPr kumimoji="0" lang="en-US" sz="1100" b="1" i="0" u="none" strike="noStrike" kern="0" cap="none" spc="0" normalizeH="0" baseline="0" noProof="0" dirty="0">
                  <a:ln>
                    <a:noFill/>
                  </a:ln>
                  <a:solidFill>
                    <a:prstClr val="white"/>
                  </a:solidFill>
                  <a:effectLst/>
                  <a:uLnTx/>
                  <a:uFillTx/>
                  <a:latin typeface="Calibri"/>
                  <a:ea typeface="+mn-ea"/>
                  <a:cs typeface="+mn-cs"/>
                </a:rPr>
              </a:br>
              <a:r>
                <a:rPr kumimoji="0" lang="en-US" sz="1100" b="1" i="0" u="none" strike="noStrike" kern="0" cap="none" spc="0" normalizeH="0" baseline="0" noProof="0" dirty="0">
                  <a:ln>
                    <a:noFill/>
                  </a:ln>
                  <a:solidFill>
                    <a:prstClr val="white"/>
                  </a:solidFill>
                  <a:effectLst/>
                  <a:uLnTx/>
                  <a:uFillTx/>
                  <a:latin typeface="Calibri"/>
                  <a:ea typeface="+mn-ea"/>
                  <a:cs typeface="+mn-cs"/>
                </a:rPr>
                <a:t>Aligned Portfolio</a:t>
              </a:r>
            </a:p>
          </p:txBody>
        </p:sp>
        <p:grpSp>
          <p:nvGrpSpPr>
            <p:cNvPr id="118" name="Group 117"/>
            <p:cNvGrpSpPr/>
            <p:nvPr/>
          </p:nvGrpSpPr>
          <p:grpSpPr>
            <a:xfrm>
              <a:off x="2357418" y="1818991"/>
              <a:ext cx="2170471" cy="203773"/>
              <a:chOff x="2371048" y="1957536"/>
              <a:chExt cx="2170471" cy="203773"/>
            </a:xfrm>
          </p:grpSpPr>
          <p:sp>
            <p:nvSpPr>
              <p:cNvPr id="119" name="Left Bracket 118"/>
              <p:cNvSpPr/>
              <p:nvPr/>
            </p:nvSpPr>
            <p:spPr>
              <a:xfrm rot="5400000">
                <a:off x="3395275" y="1015065"/>
                <a:ext cx="122017" cy="2170471"/>
              </a:xfrm>
              <a:prstGeom prst="leftBracket">
                <a:avLst>
                  <a:gd name="adj" fmla="val 0"/>
                </a:avLst>
              </a:prstGeom>
              <a:noFill/>
              <a:ln w="25400" cap="flat" cmpd="sng" algn="ctr">
                <a:solidFill>
                  <a:sysClr val="windowText" lastClr="000000"/>
                </a:solidFill>
                <a:prstDash val="solid"/>
              </a:ln>
              <a:effectLst/>
            </p:spPr>
            <p:txBody>
              <a:bodyPr rtlCol="0" anchor="ctr"/>
              <a:lstStyle/>
              <a:p>
                <a:pPr marL="0" marR="0" lvl="0" indent="0" algn="ctr" defTabSz="4568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a:ea typeface="+mn-ea"/>
                  <a:cs typeface="+mn-cs"/>
                </a:endParaRPr>
              </a:p>
            </p:txBody>
          </p:sp>
          <p:sp>
            <p:nvSpPr>
              <p:cNvPr id="120" name="TextBox 119"/>
              <p:cNvSpPr txBox="1"/>
              <p:nvPr/>
            </p:nvSpPr>
            <p:spPr>
              <a:xfrm>
                <a:off x="2913987" y="1957536"/>
                <a:ext cx="1084592" cy="169277"/>
              </a:xfrm>
              <a:prstGeom prst="rect">
                <a:avLst/>
              </a:prstGeom>
              <a:solidFill>
                <a:sysClr val="window" lastClr="FFFFFF"/>
              </a:solidFill>
            </p:spPr>
            <p:txBody>
              <a:bodyPr wrap="none" lIns="45720" tIns="0" rIns="45720" bIns="0" rtlCol="0">
                <a:spAutoFit/>
              </a:bodyPr>
              <a:lstStyle/>
              <a:p>
                <a:pPr marL="0" marR="0" lvl="0" indent="0" defTabSz="456804"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a:rPr>
                  <a:t>Run-the-Business</a:t>
                </a:r>
              </a:p>
            </p:txBody>
          </p:sp>
        </p:grpSp>
      </p:grpSp>
      <p:grpSp>
        <p:nvGrpSpPr>
          <p:cNvPr id="8" name="Group 7"/>
          <p:cNvGrpSpPr/>
          <p:nvPr/>
        </p:nvGrpSpPr>
        <p:grpSpPr>
          <a:xfrm>
            <a:off x="4584378" y="1818991"/>
            <a:ext cx="2186199" cy="2080321"/>
            <a:chOff x="4584378" y="1818991"/>
            <a:chExt cx="2186199" cy="2080321"/>
          </a:xfrm>
        </p:grpSpPr>
        <p:sp>
          <p:nvSpPr>
            <p:cNvPr id="86" name="Freeform 85"/>
            <p:cNvSpPr/>
            <p:nvPr/>
          </p:nvSpPr>
          <p:spPr>
            <a:xfrm rot="5400000">
              <a:off x="4197988" y="2443882"/>
              <a:ext cx="1841820" cy="1069040"/>
            </a:xfrm>
            <a:custGeom>
              <a:avLst/>
              <a:gdLst>
                <a:gd name="connsiteX0" fmla="*/ 0 w 1841820"/>
                <a:gd name="connsiteY0" fmla="*/ 969448 h 1069040"/>
                <a:gd name="connsiteX1" fmla="*/ 0 w 1841820"/>
                <a:gd name="connsiteY1" fmla="*/ 99593 h 1069040"/>
                <a:gd name="connsiteX2" fmla="*/ 99592 w 1841820"/>
                <a:gd name="connsiteY2" fmla="*/ 0 h 1069040"/>
                <a:gd name="connsiteX3" fmla="*/ 1240673 w 1841820"/>
                <a:gd name="connsiteY3" fmla="*/ 0 h 1069040"/>
                <a:gd name="connsiteX4" fmla="*/ 1240675 w 1841820"/>
                <a:gd name="connsiteY4" fmla="*/ 1 h 1069040"/>
                <a:gd name="connsiteX5" fmla="*/ 1649959 w 1841820"/>
                <a:gd name="connsiteY5" fmla="*/ 1 h 1069040"/>
                <a:gd name="connsiteX6" fmla="*/ 1841820 w 1841820"/>
                <a:gd name="connsiteY6" fmla="*/ 534521 h 1069040"/>
                <a:gd name="connsiteX7" fmla="*/ 1649959 w 1841820"/>
                <a:gd name="connsiteY7" fmla="*/ 1069040 h 1069040"/>
                <a:gd name="connsiteX8" fmla="*/ 984570 w 1841820"/>
                <a:gd name="connsiteY8" fmla="*/ 1069040 h 1069040"/>
                <a:gd name="connsiteX9" fmla="*/ 984570 w 1841820"/>
                <a:gd name="connsiteY9" fmla="*/ 1069040 h 1069040"/>
                <a:gd name="connsiteX10" fmla="*/ 99592 w 1841820"/>
                <a:gd name="connsiteY10" fmla="*/ 1069040 h 1069040"/>
                <a:gd name="connsiteX11" fmla="*/ 0 w 1841820"/>
                <a:gd name="connsiteY11" fmla="*/ 969448 h 1069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41820" h="1069040">
                  <a:moveTo>
                    <a:pt x="0" y="969448"/>
                  </a:moveTo>
                  <a:lnTo>
                    <a:pt x="0" y="99593"/>
                  </a:lnTo>
                  <a:cubicBezTo>
                    <a:pt x="0" y="44590"/>
                    <a:pt x="44589" y="0"/>
                    <a:pt x="99592" y="0"/>
                  </a:cubicBezTo>
                  <a:lnTo>
                    <a:pt x="1240673" y="0"/>
                  </a:lnTo>
                  <a:lnTo>
                    <a:pt x="1240675" y="1"/>
                  </a:lnTo>
                  <a:lnTo>
                    <a:pt x="1649959" y="1"/>
                  </a:lnTo>
                  <a:lnTo>
                    <a:pt x="1841820" y="534521"/>
                  </a:lnTo>
                  <a:lnTo>
                    <a:pt x="1649959" y="1069040"/>
                  </a:lnTo>
                  <a:lnTo>
                    <a:pt x="984570" y="1069040"/>
                  </a:lnTo>
                  <a:lnTo>
                    <a:pt x="984570" y="1069040"/>
                  </a:lnTo>
                  <a:lnTo>
                    <a:pt x="99592" y="1069040"/>
                  </a:lnTo>
                  <a:cubicBezTo>
                    <a:pt x="44589" y="1069040"/>
                    <a:pt x="0" y="1024451"/>
                    <a:pt x="0" y="969448"/>
                  </a:cubicBezTo>
                  <a:close/>
                </a:path>
              </a:pathLst>
            </a:custGeom>
            <a:solidFill>
              <a:srgbClr val="FC9162"/>
            </a:solidFill>
            <a:ln w="9525" cap="flat" cmpd="sng" algn="ctr">
              <a:noFill/>
              <a:prstDash val="solid"/>
            </a:ln>
            <a:effectLst/>
          </p:spPr>
          <p:txBody>
            <a:bodyPr vert="vert270" wrap="square" lIns="457200" tIns="0" bIns="0" rtlCol="0" anchor="t">
              <a:noAutofit/>
            </a:bodyPr>
            <a:lstStyle/>
            <a:p>
              <a:pPr marL="0" marR="0" lvl="0" indent="0" algn="ctr" defTabSz="456804"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Calibri"/>
                  <a:ea typeface="+mn-ea"/>
                  <a:cs typeface="+mn-cs"/>
                </a:rPr>
                <a:t>Investment in Innovation</a:t>
              </a:r>
            </a:p>
          </p:txBody>
        </p:sp>
        <p:sp>
          <p:nvSpPr>
            <p:cNvPr id="88" name="Freeform 87"/>
            <p:cNvSpPr/>
            <p:nvPr/>
          </p:nvSpPr>
          <p:spPr>
            <a:xfrm rot="5400000">
              <a:off x="5315147" y="2443882"/>
              <a:ext cx="1841820" cy="1069040"/>
            </a:xfrm>
            <a:custGeom>
              <a:avLst/>
              <a:gdLst>
                <a:gd name="connsiteX0" fmla="*/ 0 w 1841820"/>
                <a:gd name="connsiteY0" fmla="*/ 969448 h 1069040"/>
                <a:gd name="connsiteX1" fmla="*/ 0 w 1841820"/>
                <a:gd name="connsiteY1" fmla="*/ 99593 h 1069040"/>
                <a:gd name="connsiteX2" fmla="*/ 99592 w 1841820"/>
                <a:gd name="connsiteY2" fmla="*/ 0 h 1069040"/>
                <a:gd name="connsiteX3" fmla="*/ 1240673 w 1841820"/>
                <a:gd name="connsiteY3" fmla="*/ 0 h 1069040"/>
                <a:gd name="connsiteX4" fmla="*/ 1240675 w 1841820"/>
                <a:gd name="connsiteY4" fmla="*/ 1 h 1069040"/>
                <a:gd name="connsiteX5" fmla="*/ 1649959 w 1841820"/>
                <a:gd name="connsiteY5" fmla="*/ 1 h 1069040"/>
                <a:gd name="connsiteX6" fmla="*/ 1841820 w 1841820"/>
                <a:gd name="connsiteY6" fmla="*/ 534521 h 1069040"/>
                <a:gd name="connsiteX7" fmla="*/ 1649959 w 1841820"/>
                <a:gd name="connsiteY7" fmla="*/ 1069040 h 1069040"/>
                <a:gd name="connsiteX8" fmla="*/ 984570 w 1841820"/>
                <a:gd name="connsiteY8" fmla="*/ 1069040 h 1069040"/>
                <a:gd name="connsiteX9" fmla="*/ 984570 w 1841820"/>
                <a:gd name="connsiteY9" fmla="*/ 1069040 h 1069040"/>
                <a:gd name="connsiteX10" fmla="*/ 99592 w 1841820"/>
                <a:gd name="connsiteY10" fmla="*/ 1069040 h 1069040"/>
                <a:gd name="connsiteX11" fmla="*/ 0 w 1841820"/>
                <a:gd name="connsiteY11" fmla="*/ 969448 h 1069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41820" h="1069040">
                  <a:moveTo>
                    <a:pt x="0" y="969448"/>
                  </a:moveTo>
                  <a:lnTo>
                    <a:pt x="0" y="99593"/>
                  </a:lnTo>
                  <a:cubicBezTo>
                    <a:pt x="0" y="44590"/>
                    <a:pt x="44589" y="0"/>
                    <a:pt x="99592" y="0"/>
                  </a:cubicBezTo>
                  <a:lnTo>
                    <a:pt x="1240673" y="0"/>
                  </a:lnTo>
                  <a:lnTo>
                    <a:pt x="1240675" y="1"/>
                  </a:lnTo>
                  <a:lnTo>
                    <a:pt x="1649959" y="1"/>
                  </a:lnTo>
                  <a:lnTo>
                    <a:pt x="1841820" y="534521"/>
                  </a:lnTo>
                  <a:lnTo>
                    <a:pt x="1649959" y="1069040"/>
                  </a:lnTo>
                  <a:lnTo>
                    <a:pt x="984570" y="1069040"/>
                  </a:lnTo>
                  <a:lnTo>
                    <a:pt x="984570" y="1069040"/>
                  </a:lnTo>
                  <a:lnTo>
                    <a:pt x="99592" y="1069040"/>
                  </a:lnTo>
                  <a:cubicBezTo>
                    <a:pt x="44589" y="1069040"/>
                    <a:pt x="0" y="1024451"/>
                    <a:pt x="0" y="969448"/>
                  </a:cubicBezTo>
                  <a:close/>
                </a:path>
              </a:pathLst>
            </a:custGeom>
            <a:solidFill>
              <a:srgbClr val="FC9162"/>
            </a:solidFill>
            <a:ln w="9525" cap="flat" cmpd="sng" algn="ctr">
              <a:noFill/>
              <a:prstDash val="solid"/>
            </a:ln>
            <a:effectLst/>
          </p:spPr>
          <p:txBody>
            <a:bodyPr vert="vert270" wrap="square" lIns="457200" tIns="0" bIns="0" rtlCol="0" anchor="t">
              <a:noAutofit/>
            </a:bodyPr>
            <a:lstStyle/>
            <a:p>
              <a:pPr marL="0" marR="0" lvl="0" indent="0" algn="ctr" defTabSz="456804"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Calibri"/>
                  <a:ea typeface="+mn-ea"/>
                  <a:cs typeface="+mn-cs"/>
                </a:rPr>
                <a:t>Enterprise</a:t>
              </a:r>
              <a:br>
                <a:rPr kumimoji="0" lang="en-US" sz="1100" b="1" i="0" u="none" strike="noStrike" kern="0" cap="none" spc="0" normalizeH="0" baseline="0" noProof="0" dirty="0">
                  <a:ln>
                    <a:noFill/>
                  </a:ln>
                  <a:solidFill>
                    <a:prstClr val="white"/>
                  </a:solidFill>
                  <a:effectLst/>
                  <a:uLnTx/>
                  <a:uFillTx/>
                  <a:latin typeface="Calibri"/>
                  <a:ea typeface="+mn-ea"/>
                  <a:cs typeface="+mn-cs"/>
                </a:rPr>
              </a:br>
              <a:r>
                <a:rPr kumimoji="0" lang="en-US" sz="1100" b="1" i="0" u="none" strike="noStrike" kern="0" cap="none" spc="0" normalizeH="0" baseline="0" noProof="0" dirty="0">
                  <a:ln>
                    <a:noFill/>
                  </a:ln>
                  <a:solidFill>
                    <a:prstClr val="white"/>
                  </a:solidFill>
                  <a:effectLst/>
                  <a:uLnTx/>
                  <a:uFillTx/>
                  <a:latin typeface="Calibri"/>
                  <a:ea typeface="+mn-ea"/>
                  <a:cs typeface="+mn-cs"/>
                </a:rPr>
                <a:t>Agility</a:t>
              </a:r>
            </a:p>
          </p:txBody>
        </p:sp>
        <p:grpSp>
          <p:nvGrpSpPr>
            <p:cNvPr id="121" name="Group 120"/>
            <p:cNvGrpSpPr/>
            <p:nvPr/>
          </p:nvGrpSpPr>
          <p:grpSpPr>
            <a:xfrm>
              <a:off x="4600106" y="1818991"/>
              <a:ext cx="2170471" cy="203773"/>
              <a:chOff x="4613736" y="1957536"/>
              <a:chExt cx="2170471" cy="203773"/>
            </a:xfrm>
          </p:grpSpPr>
          <p:sp>
            <p:nvSpPr>
              <p:cNvPr id="122" name="Left Bracket 121"/>
              <p:cNvSpPr/>
              <p:nvPr/>
            </p:nvSpPr>
            <p:spPr>
              <a:xfrm rot="5400000">
                <a:off x="5637963" y="1015065"/>
                <a:ext cx="122017" cy="2170471"/>
              </a:xfrm>
              <a:prstGeom prst="leftBracket">
                <a:avLst>
                  <a:gd name="adj" fmla="val 0"/>
                </a:avLst>
              </a:prstGeom>
              <a:noFill/>
              <a:ln w="25400" cap="flat" cmpd="sng" algn="ctr">
                <a:solidFill>
                  <a:sysClr val="windowText" lastClr="000000"/>
                </a:solidFill>
                <a:prstDash val="solid"/>
              </a:ln>
              <a:effectLst/>
            </p:spPr>
            <p:txBody>
              <a:bodyPr rtlCol="0" anchor="ctr"/>
              <a:lstStyle/>
              <a:p>
                <a:pPr marL="0" marR="0" lvl="0" indent="0" algn="ctr" defTabSz="4568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123" name="TextBox 122"/>
              <p:cNvSpPr txBox="1"/>
              <p:nvPr/>
            </p:nvSpPr>
            <p:spPr>
              <a:xfrm>
                <a:off x="5055686" y="1957536"/>
                <a:ext cx="1286571" cy="169277"/>
              </a:xfrm>
              <a:prstGeom prst="rect">
                <a:avLst/>
              </a:prstGeom>
              <a:solidFill>
                <a:sysClr val="window" lastClr="FFFFFF"/>
              </a:solidFill>
            </p:spPr>
            <p:txBody>
              <a:bodyPr wrap="none" lIns="45720" tIns="0" rIns="45720" bIns="0" rtlCol="0">
                <a:spAutoFit/>
              </a:bodyPr>
              <a:lstStyle/>
              <a:p>
                <a:pPr marL="0" marR="0" lvl="0" indent="0" defTabSz="456804"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a:rPr>
                  <a:t>Change-the-Business</a:t>
                </a:r>
              </a:p>
            </p:txBody>
          </p:sp>
        </p:grpSp>
      </p:grpSp>
      <p:sp>
        <p:nvSpPr>
          <p:cNvPr id="117" name="Rectangle 116"/>
          <p:cNvSpPr/>
          <p:nvPr/>
        </p:nvSpPr>
        <p:spPr>
          <a:xfrm>
            <a:off x="2357419" y="3123639"/>
            <a:ext cx="4407408" cy="333632"/>
          </a:xfrm>
          <a:prstGeom prst="rect">
            <a:avLst/>
          </a:prstGeom>
          <a:solidFill>
            <a:srgbClr val="AC4922"/>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Calibri"/>
                <a:ea typeface="+mn-ea"/>
                <a:cs typeface="+mn-cs"/>
              </a:rPr>
              <a:t>Value Conversations</a:t>
            </a:r>
          </a:p>
        </p:txBody>
      </p:sp>
    </p:spTree>
    <p:extLst>
      <p:ext uri="{BB962C8B-B14F-4D97-AF65-F5344CB8AC3E}">
        <p14:creationId xmlns:p14="http://schemas.microsoft.com/office/powerpoint/2010/main" val="3482634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Four Types of Value Conversations</a:t>
            </a:r>
          </a:p>
        </p:txBody>
      </p:sp>
      <p:sp>
        <p:nvSpPr>
          <p:cNvPr id="9" name="Freeform 8"/>
          <p:cNvSpPr/>
          <p:nvPr/>
        </p:nvSpPr>
        <p:spPr>
          <a:xfrm rot="5400000">
            <a:off x="1313664" y="2043580"/>
            <a:ext cx="2023396" cy="1433244"/>
          </a:xfrm>
          <a:custGeom>
            <a:avLst/>
            <a:gdLst>
              <a:gd name="connsiteX0" fmla="*/ 0 w 1841820"/>
              <a:gd name="connsiteY0" fmla="*/ 969448 h 1069040"/>
              <a:gd name="connsiteX1" fmla="*/ 0 w 1841820"/>
              <a:gd name="connsiteY1" fmla="*/ 99593 h 1069040"/>
              <a:gd name="connsiteX2" fmla="*/ 99592 w 1841820"/>
              <a:gd name="connsiteY2" fmla="*/ 0 h 1069040"/>
              <a:gd name="connsiteX3" fmla="*/ 1240673 w 1841820"/>
              <a:gd name="connsiteY3" fmla="*/ 0 h 1069040"/>
              <a:gd name="connsiteX4" fmla="*/ 1240675 w 1841820"/>
              <a:gd name="connsiteY4" fmla="*/ 1 h 1069040"/>
              <a:gd name="connsiteX5" fmla="*/ 1649959 w 1841820"/>
              <a:gd name="connsiteY5" fmla="*/ 1 h 1069040"/>
              <a:gd name="connsiteX6" fmla="*/ 1841820 w 1841820"/>
              <a:gd name="connsiteY6" fmla="*/ 534521 h 1069040"/>
              <a:gd name="connsiteX7" fmla="*/ 1649959 w 1841820"/>
              <a:gd name="connsiteY7" fmla="*/ 1069040 h 1069040"/>
              <a:gd name="connsiteX8" fmla="*/ 984570 w 1841820"/>
              <a:gd name="connsiteY8" fmla="*/ 1069040 h 1069040"/>
              <a:gd name="connsiteX9" fmla="*/ 984570 w 1841820"/>
              <a:gd name="connsiteY9" fmla="*/ 1069040 h 1069040"/>
              <a:gd name="connsiteX10" fmla="*/ 99592 w 1841820"/>
              <a:gd name="connsiteY10" fmla="*/ 1069040 h 1069040"/>
              <a:gd name="connsiteX11" fmla="*/ 0 w 1841820"/>
              <a:gd name="connsiteY11" fmla="*/ 969448 h 1069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41820" h="1069040">
                <a:moveTo>
                  <a:pt x="0" y="969448"/>
                </a:moveTo>
                <a:lnTo>
                  <a:pt x="0" y="99593"/>
                </a:lnTo>
                <a:cubicBezTo>
                  <a:pt x="0" y="44590"/>
                  <a:pt x="44589" y="0"/>
                  <a:pt x="99592" y="0"/>
                </a:cubicBezTo>
                <a:lnTo>
                  <a:pt x="1240673" y="0"/>
                </a:lnTo>
                <a:lnTo>
                  <a:pt x="1240675" y="1"/>
                </a:lnTo>
                <a:lnTo>
                  <a:pt x="1649959" y="1"/>
                </a:lnTo>
                <a:lnTo>
                  <a:pt x="1841820" y="534521"/>
                </a:lnTo>
                <a:lnTo>
                  <a:pt x="1649959" y="1069040"/>
                </a:lnTo>
                <a:lnTo>
                  <a:pt x="984570" y="1069040"/>
                </a:lnTo>
                <a:lnTo>
                  <a:pt x="984570" y="1069040"/>
                </a:lnTo>
                <a:lnTo>
                  <a:pt x="99592" y="1069040"/>
                </a:lnTo>
                <a:cubicBezTo>
                  <a:pt x="44589" y="1069040"/>
                  <a:pt x="0" y="1024451"/>
                  <a:pt x="0" y="969448"/>
                </a:cubicBezTo>
                <a:close/>
              </a:path>
            </a:pathLst>
          </a:custGeom>
          <a:solidFill>
            <a:srgbClr val="FC9162"/>
          </a:solidFill>
          <a:ln w="9525" cap="flat" cmpd="sng" algn="ctr">
            <a:noFill/>
            <a:prstDash val="solid"/>
          </a:ln>
          <a:effectLst/>
        </p:spPr>
        <p:txBody>
          <a:bodyPr vert="vert270" wrap="square" lIns="457200" tIns="0" bIns="0" rtlCol="0" anchor="t">
            <a:noAutofit/>
          </a:bodyPr>
          <a:lstStyle/>
          <a:p>
            <a:pPr algn="ctr" defTabSz="456804" fontAlgn="auto">
              <a:spcBef>
                <a:spcPts val="0"/>
              </a:spcBef>
              <a:spcAft>
                <a:spcPts val="0"/>
              </a:spcAft>
            </a:pPr>
            <a:r>
              <a:rPr lang="en-US" sz="1400" b="1" kern="0" dirty="0">
                <a:solidFill>
                  <a:prstClr val="white"/>
                </a:solidFill>
                <a:latin typeface="Calibri"/>
              </a:rPr>
              <a:t>Cost for Performance</a:t>
            </a:r>
          </a:p>
        </p:txBody>
      </p:sp>
      <p:sp>
        <p:nvSpPr>
          <p:cNvPr id="10" name="Freeform 9"/>
          <p:cNvSpPr/>
          <p:nvPr/>
        </p:nvSpPr>
        <p:spPr>
          <a:xfrm rot="5400000">
            <a:off x="2811422" y="2043580"/>
            <a:ext cx="2023396" cy="1433244"/>
          </a:xfrm>
          <a:custGeom>
            <a:avLst/>
            <a:gdLst>
              <a:gd name="connsiteX0" fmla="*/ 0 w 1841820"/>
              <a:gd name="connsiteY0" fmla="*/ 969448 h 1069040"/>
              <a:gd name="connsiteX1" fmla="*/ 0 w 1841820"/>
              <a:gd name="connsiteY1" fmla="*/ 99593 h 1069040"/>
              <a:gd name="connsiteX2" fmla="*/ 99592 w 1841820"/>
              <a:gd name="connsiteY2" fmla="*/ 0 h 1069040"/>
              <a:gd name="connsiteX3" fmla="*/ 1240673 w 1841820"/>
              <a:gd name="connsiteY3" fmla="*/ 0 h 1069040"/>
              <a:gd name="connsiteX4" fmla="*/ 1240675 w 1841820"/>
              <a:gd name="connsiteY4" fmla="*/ 1 h 1069040"/>
              <a:gd name="connsiteX5" fmla="*/ 1649959 w 1841820"/>
              <a:gd name="connsiteY5" fmla="*/ 1 h 1069040"/>
              <a:gd name="connsiteX6" fmla="*/ 1841820 w 1841820"/>
              <a:gd name="connsiteY6" fmla="*/ 534521 h 1069040"/>
              <a:gd name="connsiteX7" fmla="*/ 1649959 w 1841820"/>
              <a:gd name="connsiteY7" fmla="*/ 1069040 h 1069040"/>
              <a:gd name="connsiteX8" fmla="*/ 984570 w 1841820"/>
              <a:gd name="connsiteY8" fmla="*/ 1069040 h 1069040"/>
              <a:gd name="connsiteX9" fmla="*/ 984570 w 1841820"/>
              <a:gd name="connsiteY9" fmla="*/ 1069040 h 1069040"/>
              <a:gd name="connsiteX10" fmla="*/ 99592 w 1841820"/>
              <a:gd name="connsiteY10" fmla="*/ 1069040 h 1069040"/>
              <a:gd name="connsiteX11" fmla="*/ 0 w 1841820"/>
              <a:gd name="connsiteY11" fmla="*/ 969448 h 1069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41820" h="1069040">
                <a:moveTo>
                  <a:pt x="0" y="969448"/>
                </a:moveTo>
                <a:lnTo>
                  <a:pt x="0" y="99593"/>
                </a:lnTo>
                <a:cubicBezTo>
                  <a:pt x="0" y="44590"/>
                  <a:pt x="44589" y="0"/>
                  <a:pt x="99592" y="0"/>
                </a:cubicBezTo>
                <a:lnTo>
                  <a:pt x="1240673" y="0"/>
                </a:lnTo>
                <a:lnTo>
                  <a:pt x="1240675" y="1"/>
                </a:lnTo>
                <a:lnTo>
                  <a:pt x="1649959" y="1"/>
                </a:lnTo>
                <a:lnTo>
                  <a:pt x="1841820" y="534521"/>
                </a:lnTo>
                <a:lnTo>
                  <a:pt x="1649959" y="1069040"/>
                </a:lnTo>
                <a:lnTo>
                  <a:pt x="984570" y="1069040"/>
                </a:lnTo>
                <a:lnTo>
                  <a:pt x="984570" y="1069040"/>
                </a:lnTo>
                <a:lnTo>
                  <a:pt x="99592" y="1069040"/>
                </a:lnTo>
                <a:cubicBezTo>
                  <a:pt x="44589" y="1069040"/>
                  <a:pt x="0" y="1024451"/>
                  <a:pt x="0" y="969448"/>
                </a:cubicBezTo>
                <a:close/>
              </a:path>
            </a:pathLst>
          </a:custGeom>
          <a:solidFill>
            <a:srgbClr val="FC9162"/>
          </a:solidFill>
          <a:ln w="9525" cap="flat" cmpd="sng" algn="ctr">
            <a:noFill/>
            <a:prstDash val="solid"/>
          </a:ln>
          <a:effectLst/>
        </p:spPr>
        <p:txBody>
          <a:bodyPr vert="vert270" wrap="square" lIns="457200" tIns="0" bIns="0" rtlCol="0" anchor="t">
            <a:noAutofit/>
          </a:bodyPr>
          <a:lstStyle/>
          <a:p>
            <a:pPr algn="ctr" defTabSz="456804" fontAlgn="auto">
              <a:spcBef>
                <a:spcPts val="0"/>
              </a:spcBef>
              <a:spcAft>
                <a:spcPts val="0"/>
              </a:spcAft>
            </a:pPr>
            <a:r>
              <a:rPr lang="en-US" sz="1400" b="1" kern="0" dirty="0">
                <a:solidFill>
                  <a:prstClr val="white"/>
                </a:solidFill>
                <a:latin typeface="Calibri"/>
              </a:rPr>
              <a:t>Business-</a:t>
            </a:r>
            <a:br>
              <a:rPr lang="en-US" sz="1400" b="1" kern="0" dirty="0">
                <a:solidFill>
                  <a:prstClr val="white"/>
                </a:solidFill>
                <a:latin typeface="Calibri"/>
              </a:rPr>
            </a:br>
            <a:r>
              <a:rPr lang="en-US" sz="1400" b="1" kern="0" dirty="0">
                <a:solidFill>
                  <a:prstClr val="white"/>
                </a:solidFill>
                <a:latin typeface="Calibri"/>
              </a:rPr>
              <a:t>Aligned Portfolio</a:t>
            </a:r>
          </a:p>
        </p:txBody>
      </p:sp>
      <p:sp>
        <p:nvSpPr>
          <p:cNvPr id="11" name="Freeform 10"/>
          <p:cNvSpPr/>
          <p:nvPr/>
        </p:nvSpPr>
        <p:spPr>
          <a:xfrm rot="5400000">
            <a:off x="4309180" y="2043580"/>
            <a:ext cx="2023396" cy="1433244"/>
          </a:xfrm>
          <a:custGeom>
            <a:avLst/>
            <a:gdLst>
              <a:gd name="connsiteX0" fmla="*/ 0 w 1841820"/>
              <a:gd name="connsiteY0" fmla="*/ 969448 h 1069040"/>
              <a:gd name="connsiteX1" fmla="*/ 0 w 1841820"/>
              <a:gd name="connsiteY1" fmla="*/ 99593 h 1069040"/>
              <a:gd name="connsiteX2" fmla="*/ 99592 w 1841820"/>
              <a:gd name="connsiteY2" fmla="*/ 0 h 1069040"/>
              <a:gd name="connsiteX3" fmla="*/ 1240673 w 1841820"/>
              <a:gd name="connsiteY3" fmla="*/ 0 h 1069040"/>
              <a:gd name="connsiteX4" fmla="*/ 1240675 w 1841820"/>
              <a:gd name="connsiteY4" fmla="*/ 1 h 1069040"/>
              <a:gd name="connsiteX5" fmla="*/ 1649959 w 1841820"/>
              <a:gd name="connsiteY5" fmla="*/ 1 h 1069040"/>
              <a:gd name="connsiteX6" fmla="*/ 1841820 w 1841820"/>
              <a:gd name="connsiteY6" fmla="*/ 534521 h 1069040"/>
              <a:gd name="connsiteX7" fmla="*/ 1649959 w 1841820"/>
              <a:gd name="connsiteY7" fmla="*/ 1069040 h 1069040"/>
              <a:gd name="connsiteX8" fmla="*/ 984570 w 1841820"/>
              <a:gd name="connsiteY8" fmla="*/ 1069040 h 1069040"/>
              <a:gd name="connsiteX9" fmla="*/ 984570 w 1841820"/>
              <a:gd name="connsiteY9" fmla="*/ 1069040 h 1069040"/>
              <a:gd name="connsiteX10" fmla="*/ 99592 w 1841820"/>
              <a:gd name="connsiteY10" fmla="*/ 1069040 h 1069040"/>
              <a:gd name="connsiteX11" fmla="*/ 0 w 1841820"/>
              <a:gd name="connsiteY11" fmla="*/ 969448 h 1069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41820" h="1069040">
                <a:moveTo>
                  <a:pt x="0" y="969448"/>
                </a:moveTo>
                <a:lnTo>
                  <a:pt x="0" y="99593"/>
                </a:lnTo>
                <a:cubicBezTo>
                  <a:pt x="0" y="44590"/>
                  <a:pt x="44589" y="0"/>
                  <a:pt x="99592" y="0"/>
                </a:cubicBezTo>
                <a:lnTo>
                  <a:pt x="1240673" y="0"/>
                </a:lnTo>
                <a:lnTo>
                  <a:pt x="1240675" y="1"/>
                </a:lnTo>
                <a:lnTo>
                  <a:pt x="1649959" y="1"/>
                </a:lnTo>
                <a:lnTo>
                  <a:pt x="1841820" y="534521"/>
                </a:lnTo>
                <a:lnTo>
                  <a:pt x="1649959" y="1069040"/>
                </a:lnTo>
                <a:lnTo>
                  <a:pt x="984570" y="1069040"/>
                </a:lnTo>
                <a:lnTo>
                  <a:pt x="984570" y="1069040"/>
                </a:lnTo>
                <a:lnTo>
                  <a:pt x="99592" y="1069040"/>
                </a:lnTo>
                <a:cubicBezTo>
                  <a:pt x="44589" y="1069040"/>
                  <a:pt x="0" y="1024451"/>
                  <a:pt x="0" y="969448"/>
                </a:cubicBezTo>
                <a:close/>
              </a:path>
            </a:pathLst>
          </a:custGeom>
          <a:solidFill>
            <a:srgbClr val="FC9162"/>
          </a:solidFill>
          <a:ln w="9525" cap="flat" cmpd="sng" algn="ctr">
            <a:noFill/>
            <a:prstDash val="solid"/>
          </a:ln>
          <a:effectLst/>
        </p:spPr>
        <p:txBody>
          <a:bodyPr vert="vert270" wrap="square" lIns="457200" tIns="0" bIns="0" rtlCol="0" anchor="t">
            <a:noAutofit/>
          </a:bodyPr>
          <a:lstStyle/>
          <a:p>
            <a:pPr algn="ctr" defTabSz="456804" fontAlgn="auto">
              <a:spcBef>
                <a:spcPts val="0"/>
              </a:spcBef>
              <a:spcAft>
                <a:spcPts val="0"/>
              </a:spcAft>
            </a:pPr>
            <a:r>
              <a:rPr lang="en-US" sz="1400" b="1" kern="0" dirty="0">
                <a:solidFill>
                  <a:prstClr val="white"/>
                </a:solidFill>
                <a:latin typeface="Calibri"/>
              </a:rPr>
              <a:t>Investment in Innovation</a:t>
            </a:r>
          </a:p>
        </p:txBody>
      </p:sp>
      <p:sp>
        <p:nvSpPr>
          <p:cNvPr id="12" name="Freeform 11"/>
          <p:cNvSpPr/>
          <p:nvPr/>
        </p:nvSpPr>
        <p:spPr>
          <a:xfrm rot="5400000">
            <a:off x="5806938" y="2043580"/>
            <a:ext cx="2023396" cy="1433244"/>
          </a:xfrm>
          <a:custGeom>
            <a:avLst/>
            <a:gdLst>
              <a:gd name="connsiteX0" fmla="*/ 0 w 1841820"/>
              <a:gd name="connsiteY0" fmla="*/ 969448 h 1069040"/>
              <a:gd name="connsiteX1" fmla="*/ 0 w 1841820"/>
              <a:gd name="connsiteY1" fmla="*/ 99593 h 1069040"/>
              <a:gd name="connsiteX2" fmla="*/ 99592 w 1841820"/>
              <a:gd name="connsiteY2" fmla="*/ 0 h 1069040"/>
              <a:gd name="connsiteX3" fmla="*/ 1240673 w 1841820"/>
              <a:gd name="connsiteY3" fmla="*/ 0 h 1069040"/>
              <a:gd name="connsiteX4" fmla="*/ 1240675 w 1841820"/>
              <a:gd name="connsiteY4" fmla="*/ 1 h 1069040"/>
              <a:gd name="connsiteX5" fmla="*/ 1649959 w 1841820"/>
              <a:gd name="connsiteY5" fmla="*/ 1 h 1069040"/>
              <a:gd name="connsiteX6" fmla="*/ 1841820 w 1841820"/>
              <a:gd name="connsiteY6" fmla="*/ 534521 h 1069040"/>
              <a:gd name="connsiteX7" fmla="*/ 1649959 w 1841820"/>
              <a:gd name="connsiteY7" fmla="*/ 1069040 h 1069040"/>
              <a:gd name="connsiteX8" fmla="*/ 984570 w 1841820"/>
              <a:gd name="connsiteY8" fmla="*/ 1069040 h 1069040"/>
              <a:gd name="connsiteX9" fmla="*/ 984570 w 1841820"/>
              <a:gd name="connsiteY9" fmla="*/ 1069040 h 1069040"/>
              <a:gd name="connsiteX10" fmla="*/ 99592 w 1841820"/>
              <a:gd name="connsiteY10" fmla="*/ 1069040 h 1069040"/>
              <a:gd name="connsiteX11" fmla="*/ 0 w 1841820"/>
              <a:gd name="connsiteY11" fmla="*/ 969448 h 1069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41820" h="1069040">
                <a:moveTo>
                  <a:pt x="0" y="969448"/>
                </a:moveTo>
                <a:lnTo>
                  <a:pt x="0" y="99593"/>
                </a:lnTo>
                <a:cubicBezTo>
                  <a:pt x="0" y="44590"/>
                  <a:pt x="44589" y="0"/>
                  <a:pt x="99592" y="0"/>
                </a:cubicBezTo>
                <a:lnTo>
                  <a:pt x="1240673" y="0"/>
                </a:lnTo>
                <a:lnTo>
                  <a:pt x="1240675" y="1"/>
                </a:lnTo>
                <a:lnTo>
                  <a:pt x="1649959" y="1"/>
                </a:lnTo>
                <a:lnTo>
                  <a:pt x="1841820" y="534521"/>
                </a:lnTo>
                <a:lnTo>
                  <a:pt x="1649959" y="1069040"/>
                </a:lnTo>
                <a:lnTo>
                  <a:pt x="984570" y="1069040"/>
                </a:lnTo>
                <a:lnTo>
                  <a:pt x="984570" y="1069040"/>
                </a:lnTo>
                <a:lnTo>
                  <a:pt x="99592" y="1069040"/>
                </a:lnTo>
                <a:cubicBezTo>
                  <a:pt x="44589" y="1069040"/>
                  <a:pt x="0" y="1024451"/>
                  <a:pt x="0" y="969448"/>
                </a:cubicBezTo>
                <a:close/>
              </a:path>
            </a:pathLst>
          </a:custGeom>
          <a:solidFill>
            <a:srgbClr val="FC9162"/>
          </a:solidFill>
          <a:ln w="9525" cap="flat" cmpd="sng" algn="ctr">
            <a:noFill/>
            <a:prstDash val="solid"/>
          </a:ln>
          <a:effectLst/>
        </p:spPr>
        <p:txBody>
          <a:bodyPr vert="vert270" wrap="square" lIns="457200" tIns="0" bIns="0" rtlCol="0" anchor="t">
            <a:noAutofit/>
          </a:bodyPr>
          <a:lstStyle/>
          <a:p>
            <a:pPr algn="ctr" defTabSz="456804" fontAlgn="auto">
              <a:spcBef>
                <a:spcPts val="0"/>
              </a:spcBef>
              <a:spcAft>
                <a:spcPts val="0"/>
              </a:spcAft>
            </a:pPr>
            <a:r>
              <a:rPr lang="en-US" sz="1400" b="1" kern="0" dirty="0">
                <a:solidFill>
                  <a:prstClr val="white"/>
                </a:solidFill>
                <a:latin typeface="Calibri"/>
              </a:rPr>
              <a:t>Enterprise</a:t>
            </a:r>
            <a:br>
              <a:rPr lang="en-US" sz="1400" b="1" kern="0" dirty="0">
                <a:solidFill>
                  <a:prstClr val="white"/>
                </a:solidFill>
                <a:latin typeface="Calibri"/>
              </a:rPr>
            </a:br>
            <a:r>
              <a:rPr lang="en-US" sz="1400" b="1" kern="0" dirty="0">
                <a:solidFill>
                  <a:prstClr val="white"/>
                </a:solidFill>
                <a:latin typeface="Calibri"/>
              </a:rPr>
              <a:t>Agility</a:t>
            </a:r>
          </a:p>
        </p:txBody>
      </p:sp>
      <p:sp>
        <p:nvSpPr>
          <p:cNvPr id="17" name="Rectangle 16"/>
          <p:cNvSpPr/>
          <p:nvPr/>
        </p:nvSpPr>
        <p:spPr>
          <a:xfrm>
            <a:off x="1618610" y="2878667"/>
            <a:ext cx="5908939" cy="348995"/>
          </a:xfrm>
          <a:prstGeom prst="rect">
            <a:avLst/>
          </a:prstGeom>
          <a:solidFill>
            <a:srgbClr val="AC4922"/>
          </a:solidFill>
          <a:ln w="9525" cap="flat" cmpd="sng" algn="ctr">
            <a:noFill/>
            <a:prstDash val="solid"/>
          </a:ln>
          <a:effectLst>
            <a:outerShdw blurRad="40000" dist="23000" dir="5400000" rotWithShape="0">
              <a:srgbClr val="000000">
                <a:alpha val="35000"/>
              </a:srgbClr>
            </a:outerShdw>
          </a:effectLst>
        </p:spPr>
        <p:txBody>
          <a:bodyPr rtlCol="0" anchor="ctr"/>
          <a:lstStyle/>
          <a:p>
            <a:pPr algn="ctr" fontAlgn="auto">
              <a:spcBef>
                <a:spcPts val="0"/>
              </a:spcBef>
              <a:spcAft>
                <a:spcPts val="0"/>
              </a:spcAft>
            </a:pPr>
            <a:r>
              <a:rPr lang="en-US" sz="1200" b="1" kern="0" dirty="0">
                <a:solidFill>
                  <a:prstClr val="white"/>
                </a:solidFill>
                <a:latin typeface="Calibri"/>
              </a:rPr>
              <a:t>Value Conversations</a:t>
            </a:r>
          </a:p>
        </p:txBody>
      </p:sp>
      <p:grpSp>
        <p:nvGrpSpPr>
          <p:cNvPr id="18" name="Group 17"/>
          <p:cNvGrpSpPr/>
          <p:nvPr/>
        </p:nvGrpSpPr>
        <p:grpSpPr>
          <a:xfrm>
            <a:off x="1618608" y="1428750"/>
            <a:ext cx="2909915" cy="273195"/>
            <a:chOff x="2371048" y="1957536"/>
            <a:chExt cx="2170471" cy="203773"/>
          </a:xfrm>
        </p:grpSpPr>
        <p:sp>
          <p:nvSpPr>
            <p:cNvPr id="22" name="Left Bracket 21"/>
            <p:cNvSpPr/>
            <p:nvPr/>
          </p:nvSpPr>
          <p:spPr>
            <a:xfrm rot="5400000">
              <a:off x="3395275" y="1015065"/>
              <a:ext cx="122017" cy="2170471"/>
            </a:xfrm>
            <a:prstGeom prst="leftBracket">
              <a:avLst>
                <a:gd name="adj" fmla="val 0"/>
              </a:avLst>
            </a:prstGeom>
            <a:effectLst/>
          </p:spPr>
          <p:style>
            <a:lnRef idx="2">
              <a:schemeClr val="dk1"/>
            </a:lnRef>
            <a:fillRef idx="0">
              <a:schemeClr val="dk1"/>
            </a:fillRef>
            <a:effectRef idx="1">
              <a:schemeClr val="dk1"/>
            </a:effectRef>
            <a:fontRef idx="minor">
              <a:schemeClr val="tx1"/>
            </a:fontRef>
          </p:style>
          <p:txBody>
            <a:bodyPr rtlCol="0" anchor="ctr"/>
            <a:lstStyle/>
            <a:p>
              <a:pPr algn="ctr"/>
              <a:endParaRPr lang="en-US" sz="2000" b="1" dirty="0"/>
            </a:p>
          </p:txBody>
        </p:sp>
        <p:sp>
          <p:nvSpPr>
            <p:cNvPr id="23" name="TextBox 22"/>
            <p:cNvSpPr txBox="1"/>
            <p:nvPr/>
          </p:nvSpPr>
          <p:spPr>
            <a:xfrm>
              <a:off x="2913987" y="1957536"/>
              <a:ext cx="1050508" cy="137740"/>
            </a:xfrm>
            <a:prstGeom prst="rect">
              <a:avLst/>
            </a:prstGeom>
            <a:solidFill>
              <a:schemeClr val="bg1"/>
            </a:solidFill>
          </p:spPr>
          <p:txBody>
            <a:bodyPr wrap="none" lIns="45720" tIns="0" rIns="45720" bIns="0" rtlCol="0">
              <a:spAutoFit/>
            </a:bodyPr>
            <a:lstStyle/>
            <a:p>
              <a:r>
                <a:rPr lang="en-US" sz="1200" b="1" dirty="0"/>
                <a:t>Run-the-Business</a:t>
              </a:r>
            </a:p>
          </p:txBody>
        </p:sp>
      </p:grpSp>
      <p:grpSp>
        <p:nvGrpSpPr>
          <p:cNvPr id="19" name="Group 18"/>
          <p:cNvGrpSpPr/>
          <p:nvPr/>
        </p:nvGrpSpPr>
        <p:grpSpPr>
          <a:xfrm>
            <a:off x="4625343" y="1428750"/>
            <a:ext cx="2909915" cy="273195"/>
            <a:chOff x="4613736" y="1957536"/>
            <a:chExt cx="2170471" cy="203773"/>
          </a:xfrm>
        </p:grpSpPr>
        <p:sp>
          <p:nvSpPr>
            <p:cNvPr id="20" name="Left Bracket 19"/>
            <p:cNvSpPr/>
            <p:nvPr/>
          </p:nvSpPr>
          <p:spPr>
            <a:xfrm rot="5400000">
              <a:off x="5637963" y="1015065"/>
              <a:ext cx="122017" cy="2170471"/>
            </a:xfrm>
            <a:prstGeom prst="leftBracket">
              <a:avLst>
                <a:gd name="adj" fmla="val 0"/>
              </a:avLst>
            </a:prstGeom>
            <a:effectLst/>
          </p:spPr>
          <p:style>
            <a:lnRef idx="2">
              <a:schemeClr val="dk1"/>
            </a:lnRef>
            <a:fillRef idx="0">
              <a:schemeClr val="dk1"/>
            </a:fillRef>
            <a:effectRef idx="1">
              <a:schemeClr val="dk1"/>
            </a:effectRef>
            <a:fontRef idx="minor">
              <a:schemeClr val="tx1"/>
            </a:fontRef>
          </p:style>
          <p:txBody>
            <a:bodyPr rtlCol="0" anchor="ctr"/>
            <a:lstStyle/>
            <a:p>
              <a:pPr algn="ctr"/>
              <a:endParaRPr lang="en-US" sz="2000" b="1"/>
            </a:p>
          </p:txBody>
        </p:sp>
        <p:sp>
          <p:nvSpPr>
            <p:cNvPr id="21" name="TextBox 20"/>
            <p:cNvSpPr txBox="1"/>
            <p:nvPr/>
          </p:nvSpPr>
          <p:spPr>
            <a:xfrm>
              <a:off x="5055686" y="1957536"/>
              <a:ext cx="1247792" cy="137740"/>
            </a:xfrm>
            <a:prstGeom prst="rect">
              <a:avLst/>
            </a:prstGeom>
            <a:solidFill>
              <a:schemeClr val="bg1"/>
            </a:solidFill>
          </p:spPr>
          <p:txBody>
            <a:bodyPr wrap="none" lIns="45720" tIns="0" rIns="45720" bIns="0" rtlCol="0">
              <a:spAutoFit/>
            </a:bodyPr>
            <a:lstStyle/>
            <a:p>
              <a:r>
                <a:rPr lang="en-US" sz="1200" b="1" dirty="0"/>
                <a:t>Change-the-Business</a:t>
              </a:r>
            </a:p>
          </p:txBody>
        </p:sp>
      </p:grpSp>
      <p:sp>
        <p:nvSpPr>
          <p:cNvPr id="26" name="Rectangle 25"/>
          <p:cNvSpPr/>
          <p:nvPr/>
        </p:nvSpPr>
        <p:spPr>
          <a:xfrm>
            <a:off x="413724" y="746712"/>
            <a:ext cx="4114799" cy="584739"/>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US" sz="1400" b="1" dirty="0">
                <a:solidFill>
                  <a:schemeClr val="tx1"/>
                </a:solidFill>
              </a:rPr>
              <a:t>Spending and investments used for </a:t>
            </a:r>
            <a:br>
              <a:rPr lang="en-US" sz="1400" b="1" dirty="0">
                <a:solidFill>
                  <a:schemeClr val="tx1"/>
                </a:solidFill>
              </a:rPr>
            </a:br>
            <a:r>
              <a:rPr lang="en-US" sz="1400" b="1" u="sng" dirty="0">
                <a:solidFill>
                  <a:schemeClr val="tx1"/>
                </a:solidFill>
              </a:rPr>
              <a:t>ongoing operations</a:t>
            </a:r>
            <a:r>
              <a:rPr lang="en-US" sz="1400" b="1" dirty="0">
                <a:solidFill>
                  <a:schemeClr val="tx1"/>
                </a:solidFill>
              </a:rPr>
              <a:t> of the business</a:t>
            </a:r>
            <a:endParaRPr lang="en-US" sz="1400" b="1" dirty="0">
              <a:solidFill>
                <a:schemeClr val="tx1"/>
              </a:solidFill>
              <a:latin typeface="+mn-lt"/>
            </a:endParaRPr>
          </a:p>
        </p:txBody>
      </p:sp>
      <p:sp>
        <p:nvSpPr>
          <p:cNvPr id="27" name="Rectangle 26"/>
          <p:cNvSpPr/>
          <p:nvPr/>
        </p:nvSpPr>
        <p:spPr>
          <a:xfrm>
            <a:off x="4625342" y="756139"/>
            <a:ext cx="4114799" cy="584739"/>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US" sz="1400" b="1" dirty="0">
                <a:solidFill>
                  <a:schemeClr val="tx1"/>
                </a:solidFill>
              </a:rPr>
              <a:t>Spending and investments used to </a:t>
            </a:r>
            <a:br>
              <a:rPr lang="en-US" sz="1400" b="1" dirty="0">
                <a:solidFill>
                  <a:schemeClr val="tx1"/>
                </a:solidFill>
              </a:rPr>
            </a:br>
            <a:r>
              <a:rPr lang="en-US" sz="1400" b="1" u="sng" dirty="0">
                <a:solidFill>
                  <a:schemeClr val="tx1"/>
                </a:solidFill>
              </a:rPr>
              <a:t>grow or transform</a:t>
            </a:r>
            <a:r>
              <a:rPr lang="en-US" sz="1400" b="1" dirty="0">
                <a:solidFill>
                  <a:schemeClr val="tx1"/>
                </a:solidFill>
              </a:rPr>
              <a:t> the business</a:t>
            </a:r>
            <a:endParaRPr lang="en-US" sz="1400" b="1" dirty="0">
              <a:solidFill>
                <a:schemeClr val="tx1"/>
              </a:solidFill>
              <a:latin typeface="+mn-lt"/>
            </a:endParaRPr>
          </a:p>
        </p:txBody>
      </p:sp>
      <p:sp>
        <p:nvSpPr>
          <p:cNvPr id="28" name="Rectangle 27"/>
          <p:cNvSpPr/>
          <p:nvPr/>
        </p:nvSpPr>
        <p:spPr>
          <a:xfrm>
            <a:off x="223225" y="3867150"/>
            <a:ext cx="2138976" cy="992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US" sz="1100" dirty="0">
                <a:solidFill>
                  <a:schemeClr val="bg1"/>
                </a:solidFill>
              </a:rPr>
              <a:t>We deliver the right performance for the best possible price.</a:t>
            </a:r>
          </a:p>
        </p:txBody>
      </p:sp>
      <p:sp>
        <p:nvSpPr>
          <p:cNvPr id="30" name="Rectangle 29"/>
          <p:cNvSpPr/>
          <p:nvPr/>
        </p:nvSpPr>
        <p:spPr>
          <a:xfrm>
            <a:off x="2416550" y="3867150"/>
            <a:ext cx="2138976" cy="9923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US" sz="1100" dirty="0">
                <a:solidFill>
                  <a:schemeClr val="bg1"/>
                </a:solidFill>
              </a:rPr>
              <a:t>We spend our resources to get the biggest return possible for our business.</a:t>
            </a:r>
          </a:p>
        </p:txBody>
      </p:sp>
      <p:sp>
        <p:nvSpPr>
          <p:cNvPr id="31" name="Rectangle 30"/>
          <p:cNvSpPr/>
          <p:nvPr/>
        </p:nvSpPr>
        <p:spPr>
          <a:xfrm>
            <a:off x="4609875" y="3867150"/>
            <a:ext cx="2138976" cy="99236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US" sz="1100" dirty="0">
                <a:solidFill>
                  <a:schemeClr val="bg1"/>
                </a:solidFill>
              </a:rPr>
              <a:t>We maximize our innovation dollars and ensure value over our investment lifetimes.</a:t>
            </a:r>
          </a:p>
        </p:txBody>
      </p:sp>
      <p:sp>
        <p:nvSpPr>
          <p:cNvPr id="32" name="Rectangle 31"/>
          <p:cNvSpPr/>
          <p:nvPr/>
        </p:nvSpPr>
        <p:spPr>
          <a:xfrm>
            <a:off x="6803201" y="3867150"/>
            <a:ext cx="2138976" cy="992365"/>
          </a:xfrm>
          <a:prstGeom prst="rect">
            <a:avLst/>
          </a:prstGeom>
          <a:solidFill>
            <a:srgbClr val="A365D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US" sz="1100" dirty="0">
                <a:solidFill>
                  <a:schemeClr val="bg1"/>
                </a:solidFill>
              </a:rPr>
              <a:t>We improve the speed at which our business – </a:t>
            </a:r>
            <a:r>
              <a:rPr lang="en-US" sz="1100" i="1" dirty="0">
                <a:solidFill>
                  <a:schemeClr val="bg1"/>
                </a:solidFill>
              </a:rPr>
              <a:t>including IT</a:t>
            </a:r>
            <a:r>
              <a:rPr lang="en-US" sz="1100" dirty="0">
                <a:solidFill>
                  <a:schemeClr val="bg1"/>
                </a:solidFill>
              </a:rPr>
              <a:t> – responds.</a:t>
            </a:r>
          </a:p>
        </p:txBody>
      </p:sp>
      <p:cxnSp>
        <p:nvCxnSpPr>
          <p:cNvPr id="4" name="Straight Arrow Connector 3">
            <a:extLst>
              <a:ext uri="{FF2B5EF4-FFF2-40B4-BE49-F238E27FC236}">
                <a16:creationId xmlns:a16="http://schemas.microsoft.com/office/drawing/2014/main" id="{030620D5-2464-4751-BFC3-0B0F0BCE9892}"/>
              </a:ext>
            </a:extLst>
          </p:cNvPr>
          <p:cNvCxnSpPr>
            <a:cxnSpLocks/>
          </p:cNvCxnSpPr>
          <p:nvPr/>
        </p:nvCxnSpPr>
        <p:spPr>
          <a:xfrm flipH="1">
            <a:off x="1292713" y="3452156"/>
            <a:ext cx="1053804" cy="557657"/>
          </a:xfrm>
          <a:prstGeom prst="straightConnector1">
            <a:avLst/>
          </a:prstGeom>
          <a:ln w="12700">
            <a:solidFill>
              <a:srgbClr val="23434D"/>
            </a:solidFill>
            <a:miter lim="800000"/>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B3094767-51AD-40F2-95CC-652DFBAE6A6E}"/>
              </a:ext>
            </a:extLst>
          </p:cNvPr>
          <p:cNvCxnSpPr>
            <a:cxnSpLocks/>
          </p:cNvCxnSpPr>
          <p:nvPr/>
        </p:nvCxnSpPr>
        <p:spPr>
          <a:xfrm flipH="1">
            <a:off x="3486038" y="3452156"/>
            <a:ext cx="337082" cy="557657"/>
          </a:xfrm>
          <a:prstGeom prst="straightConnector1">
            <a:avLst/>
          </a:prstGeom>
          <a:ln w="12700">
            <a:solidFill>
              <a:srgbClr val="23434D"/>
            </a:solidFill>
            <a:miter lim="800000"/>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583E215E-F716-4771-9446-7BC3DB4C47C4}"/>
              </a:ext>
            </a:extLst>
          </p:cNvPr>
          <p:cNvCxnSpPr>
            <a:cxnSpLocks/>
          </p:cNvCxnSpPr>
          <p:nvPr/>
        </p:nvCxnSpPr>
        <p:spPr>
          <a:xfrm>
            <a:off x="5320878" y="3452156"/>
            <a:ext cx="358485" cy="544238"/>
          </a:xfrm>
          <a:prstGeom prst="straightConnector1">
            <a:avLst/>
          </a:prstGeom>
          <a:ln w="12700">
            <a:solidFill>
              <a:srgbClr val="23434D"/>
            </a:solidFill>
            <a:miter lim="800000"/>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A3BD130F-A93F-4B40-8175-AB842BE3D1D0}"/>
              </a:ext>
            </a:extLst>
          </p:cNvPr>
          <p:cNvCxnSpPr>
            <a:cxnSpLocks/>
          </p:cNvCxnSpPr>
          <p:nvPr/>
        </p:nvCxnSpPr>
        <p:spPr>
          <a:xfrm>
            <a:off x="6818635" y="3452156"/>
            <a:ext cx="1054054" cy="557657"/>
          </a:xfrm>
          <a:prstGeom prst="straightConnector1">
            <a:avLst/>
          </a:prstGeom>
          <a:ln w="12700">
            <a:solidFill>
              <a:srgbClr val="23434D"/>
            </a:solidFill>
            <a:miter lim="800000"/>
            <a:headEnd type="oval" w="med" len="med"/>
            <a:tailEnd type="oval" w="med"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197212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left)">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par>
                                <p:cTn id="13" presetID="22" presetClass="entr" presetSubtype="1" fill="hold"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wipe(up)">
                                      <p:cBhvr>
                                        <p:cTn id="15" dur="500"/>
                                        <p:tgtEl>
                                          <p:spTgt spid="4"/>
                                        </p:tgtEl>
                                      </p:cBhvr>
                                    </p:animEffect>
                                  </p:childTnLst>
                                </p:cTn>
                              </p:par>
                            </p:childTnLst>
                          </p:cTn>
                        </p:par>
                        <p:par>
                          <p:cTn id="16" fill="hold">
                            <p:stCondLst>
                              <p:cond delay="500"/>
                            </p:stCondLst>
                            <p:childTnLst>
                              <p:par>
                                <p:cTn id="17" presetID="10" presetClass="entr" presetSubtype="0" fill="hold" grpId="0" nodeType="afterEffect">
                                  <p:stCondLst>
                                    <p:cond delay="0"/>
                                  </p:stCondLst>
                                  <p:childTnLst>
                                    <p:set>
                                      <p:cBhvr>
                                        <p:cTn id="18" dur="1" fill="hold">
                                          <p:stCondLst>
                                            <p:cond delay="0"/>
                                          </p:stCondLst>
                                        </p:cTn>
                                        <p:tgtEl>
                                          <p:spTgt spid="28"/>
                                        </p:tgtEl>
                                        <p:attrNameLst>
                                          <p:attrName>style.visibility</p:attrName>
                                        </p:attrNameLst>
                                      </p:cBhvr>
                                      <p:to>
                                        <p:strVal val="visible"/>
                                      </p:to>
                                    </p:set>
                                    <p:animEffect transition="in" filter="fade">
                                      <p:cBhvr>
                                        <p:cTn id="19" dur="500"/>
                                        <p:tgtEl>
                                          <p:spTgt spid="28"/>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500"/>
                                        <p:tgtEl>
                                          <p:spTgt spid="10"/>
                                        </p:tgtEl>
                                      </p:cBhvr>
                                    </p:animEffect>
                                  </p:childTnLst>
                                </p:cTn>
                              </p:par>
                              <p:par>
                                <p:cTn id="25" presetID="22" presetClass="entr" presetSubtype="1" fill="hold" nodeType="with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wipe(up)">
                                      <p:cBhvr>
                                        <p:cTn id="27" dur="500"/>
                                        <p:tgtEl>
                                          <p:spTgt spid="24"/>
                                        </p:tgtEl>
                                      </p:cBhvr>
                                    </p:animEffect>
                                  </p:childTnLst>
                                </p:cTn>
                              </p:par>
                            </p:childTnLst>
                          </p:cTn>
                        </p:par>
                        <p:par>
                          <p:cTn id="28" fill="hold">
                            <p:stCondLst>
                              <p:cond delay="500"/>
                            </p:stCondLst>
                            <p:childTnLst>
                              <p:par>
                                <p:cTn id="29" presetID="10" presetClass="entr" presetSubtype="0" fill="hold" grpId="0" nodeType="afterEffect">
                                  <p:stCondLst>
                                    <p:cond delay="0"/>
                                  </p:stCondLst>
                                  <p:childTnLst>
                                    <p:set>
                                      <p:cBhvr>
                                        <p:cTn id="30" dur="1" fill="hold">
                                          <p:stCondLst>
                                            <p:cond delay="0"/>
                                          </p:stCondLst>
                                        </p:cTn>
                                        <p:tgtEl>
                                          <p:spTgt spid="30"/>
                                        </p:tgtEl>
                                        <p:attrNameLst>
                                          <p:attrName>style.visibility</p:attrName>
                                        </p:attrNameLst>
                                      </p:cBhvr>
                                      <p:to>
                                        <p:strVal val="visible"/>
                                      </p:to>
                                    </p:set>
                                    <p:animEffect transition="in" filter="fade">
                                      <p:cBhvr>
                                        <p:cTn id="31" dur="500"/>
                                        <p:tgtEl>
                                          <p:spTgt spid="30"/>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500"/>
                                        <p:tgtEl>
                                          <p:spTgt spid="11"/>
                                        </p:tgtEl>
                                      </p:cBhvr>
                                    </p:animEffect>
                                  </p:childTnLst>
                                </p:cTn>
                              </p:par>
                              <p:par>
                                <p:cTn id="37" presetID="22" presetClass="entr" presetSubtype="1" fill="hold" nodeType="withEffect">
                                  <p:stCondLst>
                                    <p:cond delay="0"/>
                                  </p:stCondLst>
                                  <p:childTnLst>
                                    <p:set>
                                      <p:cBhvr>
                                        <p:cTn id="38" dur="1" fill="hold">
                                          <p:stCondLst>
                                            <p:cond delay="0"/>
                                          </p:stCondLst>
                                        </p:cTn>
                                        <p:tgtEl>
                                          <p:spTgt spid="33"/>
                                        </p:tgtEl>
                                        <p:attrNameLst>
                                          <p:attrName>style.visibility</p:attrName>
                                        </p:attrNameLst>
                                      </p:cBhvr>
                                      <p:to>
                                        <p:strVal val="visible"/>
                                      </p:to>
                                    </p:set>
                                    <p:animEffect transition="in" filter="wipe(up)">
                                      <p:cBhvr>
                                        <p:cTn id="39" dur="500"/>
                                        <p:tgtEl>
                                          <p:spTgt spid="33"/>
                                        </p:tgtEl>
                                      </p:cBhvr>
                                    </p:animEffect>
                                  </p:childTnLst>
                                </p:cTn>
                              </p:par>
                            </p:childTnLst>
                          </p:cTn>
                        </p:par>
                        <p:par>
                          <p:cTn id="40" fill="hold">
                            <p:stCondLst>
                              <p:cond delay="500"/>
                            </p:stCondLst>
                            <p:childTnLst>
                              <p:par>
                                <p:cTn id="41" presetID="10" presetClass="entr" presetSubtype="0" fill="hold" grpId="0" nodeType="afterEffect">
                                  <p:stCondLst>
                                    <p:cond delay="0"/>
                                  </p:stCondLst>
                                  <p:childTnLst>
                                    <p:set>
                                      <p:cBhvr>
                                        <p:cTn id="42" dur="1" fill="hold">
                                          <p:stCondLst>
                                            <p:cond delay="0"/>
                                          </p:stCondLst>
                                        </p:cTn>
                                        <p:tgtEl>
                                          <p:spTgt spid="31"/>
                                        </p:tgtEl>
                                        <p:attrNameLst>
                                          <p:attrName>style.visibility</p:attrName>
                                        </p:attrNameLst>
                                      </p:cBhvr>
                                      <p:to>
                                        <p:strVal val="visible"/>
                                      </p:to>
                                    </p:set>
                                    <p:animEffect transition="in" filter="fade">
                                      <p:cBhvr>
                                        <p:cTn id="43" dur="500"/>
                                        <p:tgtEl>
                                          <p:spTgt spid="31"/>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12"/>
                                        </p:tgtEl>
                                        <p:attrNameLst>
                                          <p:attrName>style.visibility</p:attrName>
                                        </p:attrNameLst>
                                      </p:cBhvr>
                                      <p:to>
                                        <p:strVal val="visible"/>
                                      </p:to>
                                    </p:set>
                                    <p:animEffect transition="in" filter="fade">
                                      <p:cBhvr>
                                        <p:cTn id="48" dur="500"/>
                                        <p:tgtEl>
                                          <p:spTgt spid="12"/>
                                        </p:tgtEl>
                                      </p:cBhvr>
                                    </p:animEffect>
                                  </p:childTnLst>
                                </p:cTn>
                              </p:par>
                              <p:par>
                                <p:cTn id="49" presetID="22" presetClass="entr" presetSubtype="1" fill="hold" nodeType="withEffect">
                                  <p:stCondLst>
                                    <p:cond delay="0"/>
                                  </p:stCondLst>
                                  <p:childTnLst>
                                    <p:set>
                                      <p:cBhvr>
                                        <p:cTn id="50" dur="1" fill="hold">
                                          <p:stCondLst>
                                            <p:cond delay="0"/>
                                          </p:stCondLst>
                                        </p:cTn>
                                        <p:tgtEl>
                                          <p:spTgt spid="37"/>
                                        </p:tgtEl>
                                        <p:attrNameLst>
                                          <p:attrName>style.visibility</p:attrName>
                                        </p:attrNameLst>
                                      </p:cBhvr>
                                      <p:to>
                                        <p:strVal val="visible"/>
                                      </p:to>
                                    </p:set>
                                    <p:animEffect transition="in" filter="wipe(up)">
                                      <p:cBhvr>
                                        <p:cTn id="51" dur="500"/>
                                        <p:tgtEl>
                                          <p:spTgt spid="37"/>
                                        </p:tgtEl>
                                      </p:cBhvr>
                                    </p:animEffect>
                                  </p:childTnLst>
                                </p:cTn>
                              </p:par>
                            </p:childTnLst>
                          </p:cTn>
                        </p:par>
                        <p:par>
                          <p:cTn id="52" fill="hold">
                            <p:stCondLst>
                              <p:cond delay="500"/>
                            </p:stCondLst>
                            <p:childTnLst>
                              <p:par>
                                <p:cTn id="53" presetID="10" presetClass="entr" presetSubtype="0" fill="hold" grpId="0" nodeType="after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500"/>
                                        <p:tgtEl>
                                          <p:spTgt spid="32"/>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18"/>
                                        </p:tgtEl>
                                        <p:attrNameLst>
                                          <p:attrName>style.visibility</p:attrName>
                                        </p:attrNameLst>
                                      </p:cBhvr>
                                      <p:to>
                                        <p:strVal val="visible"/>
                                      </p:to>
                                    </p:set>
                                    <p:animEffect transition="in" filter="fade">
                                      <p:cBhvr>
                                        <p:cTn id="60" dur="500"/>
                                        <p:tgtEl>
                                          <p:spTgt spid="18"/>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26"/>
                                        </p:tgtEl>
                                        <p:attrNameLst>
                                          <p:attrName>style.visibility</p:attrName>
                                        </p:attrNameLst>
                                      </p:cBhvr>
                                      <p:to>
                                        <p:strVal val="visible"/>
                                      </p:to>
                                    </p:set>
                                    <p:animEffect transition="in" filter="fade">
                                      <p:cBhvr>
                                        <p:cTn id="63" dur="500"/>
                                        <p:tgtEl>
                                          <p:spTgt spid="26"/>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nodeType="clickEffect">
                                  <p:stCondLst>
                                    <p:cond delay="0"/>
                                  </p:stCondLst>
                                  <p:childTnLst>
                                    <p:set>
                                      <p:cBhvr>
                                        <p:cTn id="67" dur="1" fill="hold">
                                          <p:stCondLst>
                                            <p:cond delay="0"/>
                                          </p:stCondLst>
                                        </p:cTn>
                                        <p:tgtEl>
                                          <p:spTgt spid="19"/>
                                        </p:tgtEl>
                                        <p:attrNameLst>
                                          <p:attrName>style.visibility</p:attrName>
                                        </p:attrNameLst>
                                      </p:cBhvr>
                                      <p:to>
                                        <p:strVal val="visible"/>
                                      </p:to>
                                    </p:set>
                                    <p:animEffect transition="in" filter="fade">
                                      <p:cBhvr>
                                        <p:cTn id="68" dur="500"/>
                                        <p:tgtEl>
                                          <p:spTgt spid="19"/>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27"/>
                                        </p:tgtEl>
                                        <p:attrNameLst>
                                          <p:attrName>style.visibility</p:attrName>
                                        </p:attrNameLst>
                                      </p:cBhvr>
                                      <p:to>
                                        <p:strVal val="visible"/>
                                      </p:to>
                                    </p:set>
                                    <p:animEffect transition="in" filter="fade">
                                      <p:cBhvr>
                                        <p:cTn id="71"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7" grpId="0" animBg="1"/>
      <p:bldP spid="26" grpId="0" animBg="1"/>
      <p:bldP spid="27" grpId="0" animBg="1"/>
      <p:bldP spid="28" grpId="0" animBg="1"/>
      <p:bldP spid="30" grpId="0" animBg="1"/>
      <p:bldP spid="31" grpId="0" animBg="1"/>
      <p:bldP spid="3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osition for Value</a:t>
            </a:r>
            <a:br>
              <a:rPr lang="en-US" dirty="0"/>
            </a:br>
            <a:r>
              <a:rPr lang="en-US" sz="1600" i="1" dirty="0">
                <a:solidFill>
                  <a:schemeClr val="accent4"/>
                </a:solidFill>
              </a:rPr>
              <a:t>What is your Technology Business Model and are you aligned to do it?</a:t>
            </a:r>
            <a:endParaRPr lang="en-US" i="1" dirty="0">
              <a:solidFill>
                <a:schemeClr val="accent4"/>
              </a:solidFill>
            </a:endParaRPr>
          </a:p>
        </p:txBody>
      </p:sp>
      <p:sp>
        <p:nvSpPr>
          <p:cNvPr id="3" name="Text Placeholder 2"/>
          <p:cNvSpPr>
            <a:spLocks noGrp="1"/>
          </p:cNvSpPr>
          <p:nvPr>
            <p:ph type="body" sz="quarter" idx="10"/>
          </p:nvPr>
        </p:nvSpPr>
        <p:spPr>
          <a:xfrm>
            <a:off x="457201" y="914400"/>
            <a:ext cx="3056347" cy="3714750"/>
          </a:xfrm>
        </p:spPr>
        <p:txBody>
          <a:bodyPr anchor="ctr"/>
          <a:lstStyle/>
          <a:p>
            <a:pPr>
              <a:spcBef>
                <a:spcPts val="600"/>
              </a:spcBef>
              <a:spcAft>
                <a:spcPts val="1000"/>
              </a:spcAft>
            </a:pPr>
            <a:r>
              <a:rPr lang="en-US" dirty="0"/>
              <a:t>Technology business model affects value delivered</a:t>
            </a:r>
          </a:p>
          <a:p>
            <a:pPr>
              <a:spcBef>
                <a:spcPts val="600"/>
              </a:spcBef>
              <a:spcAft>
                <a:spcPts val="1000"/>
              </a:spcAft>
            </a:pPr>
            <a:r>
              <a:rPr lang="en-US" dirty="0"/>
              <a:t>Many CIOs use TBM to move up the value chain</a:t>
            </a:r>
          </a:p>
          <a:p>
            <a:pPr>
              <a:spcBef>
                <a:spcPts val="600"/>
              </a:spcBef>
              <a:spcAft>
                <a:spcPts val="1000"/>
              </a:spcAft>
            </a:pPr>
            <a:r>
              <a:rPr lang="en-US" dirty="0"/>
              <a:t>CIO+ means delivering business capabilities beyond IT</a:t>
            </a:r>
          </a:p>
        </p:txBody>
      </p:sp>
      <p:grpSp>
        <p:nvGrpSpPr>
          <p:cNvPr id="22" name="Group 21"/>
          <p:cNvGrpSpPr/>
          <p:nvPr/>
        </p:nvGrpSpPr>
        <p:grpSpPr>
          <a:xfrm>
            <a:off x="4043307" y="1179914"/>
            <a:ext cx="4700761" cy="3537399"/>
            <a:chOff x="2167064" y="1101133"/>
            <a:chExt cx="4700761" cy="3537399"/>
          </a:xfrm>
        </p:grpSpPr>
        <p:cxnSp>
          <p:nvCxnSpPr>
            <p:cNvPr id="23" name="Straight Connector 22"/>
            <p:cNvCxnSpPr/>
            <p:nvPr/>
          </p:nvCxnSpPr>
          <p:spPr>
            <a:xfrm>
              <a:off x="3200816" y="1101133"/>
              <a:ext cx="0" cy="3097944"/>
            </a:xfrm>
            <a:prstGeom prst="line">
              <a:avLst/>
            </a:prstGeom>
            <a:noFill/>
            <a:ln w="19050" cap="flat" cmpd="sng" algn="ctr">
              <a:solidFill>
                <a:srgbClr val="000000"/>
              </a:solidFill>
              <a:prstDash val="solid"/>
              <a:headEnd type="arrow" w="med" len="med"/>
              <a:tailEnd type="arrow" w="med" len="med"/>
            </a:ln>
            <a:effectLst/>
          </p:spPr>
        </p:cxnSp>
        <p:sp>
          <p:nvSpPr>
            <p:cNvPr id="24" name="TextBox 23"/>
            <p:cNvSpPr txBox="1"/>
            <p:nvPr/>
          </p:nvSpPr>
          <p:spPr>
            <a:xfrm>
              <a:off x="6248125" y="4374915"/>
              <a:ext cx="417743" cy="253916"/>
            </a:xfrm>
            <a:prstGeom prst="rect">
              <a:avLst/>
            </a:prstGeom>
            <a:noFill/>
          </p:spPr>
          <p:txBody>
            <a:bodyPr wrap="none" lIns="45720" rIns="45720" rtlCol="0">
              <a:spAutoFit/>
            </a:bodyPr>
            <a:lstStyle/>
            <a:p>
              <a:pPr marL="0" marR="0" lvl="0" indent="0" algn="r" defTabSz="456804"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prstClr val="black"/>
                  </a:solidFill>
                  <a:effectLst/>
                  <a:uLnTx/>
                  <a:uFillTx/>
                  <a:latin typeface="Garamond" panose="02020404030301010803" pitchFamily="18" charset="0"/>
                  <a:cs typeface="Helvetica Neue"/>
                </a:rPr>
                <a:t>Value</a:t>
              </a:r>
            </a:p>
          </p:txBody>
        </p:sp>
        <p:sp>
          <p:nvSpPr>
            <p:cNvPr id="25" name="TextBox 24"/>
            <p:cNvSpPr txBox="1"/>
            <p:nvPr/>
          </p:nvSpPr>
          <p:spPr>
            <a:xfrm>
              <a:off x="3274976" y="4374913"/>
              <a:ext cx="352019" cy="253916"/>
            </a:xfrm>
            <a:prstGeom prst="rect">
              <a:avLst/>
            </a:prstGeom>
            <a:noFill/>
          </p:spPr>
          <p:txBody>
            <a:bodyPr wrap="none" lIns="45720" rIns="45720" rtlCol="0">
              <a:spAutoFit/>
            </a:bodyPr>
            <a:lstStyle/>
            <a:p>
              <a:pPr marL="0" marR="0" lvl="0" indent="0" defTabSz="456804"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prstClr val="black"/>
                  </a:solidFill>
                  <a:effectLst/>
                  <a:uLnTx/>
                  <a:uFillTx/>
                  <a:latin typeface="Garamond" panose="02020404030301010803" pitchFamily="18" charset="0"/>
                  <a:cs typeface="Helvetica Neue"/>
                </a:rPr>
                <a:t>Cost</a:t>
              </a:r>
            </a:p>
          </p:txBody>
        </p:sp>
        <p:cxnSp>
          <p:nvCxnSpPr>
            <p:cNvPr id="26" name="Straight Connector 25"/>
            <p:cNvCxnSpPr/>
            <p:nvPr/>
          </p:nvCxnSpPr>
          <p:spPr>
            <a:xfrm>
              <a:off x="3412439" y="4363691"/>
              <a:ext cx="3087559" cy="2678"/>
            </a:xfrm>
            <a:prstGeom prst="line">
              <a:avLst/>
            </a:prstGeom>
            <a:noFill/>
            <a:ln w="19050" cap="flat" cmpd="sng" algn="ctr">
              <a:solidFill>
                <a:srgbClr val="000000"/>
              </a:solidFill>
              <a:prstDash val="solid"/>
              <a:headEnd type="arrow" w="med" len="med"/>
              <a:tailEnd type="arrow" w="med" len="med"/>
            </a:ln>
            <a:effectLst/>
          </p:spPr>
        </p:cxnSp>
        <p:sp>
          <p:nvSpPr>
            <p:cNvPr id="27" name="TextBox 26"/>
            <p:cNvSpPr txBox="1"/>
            <p:nvPr/>
          </p:nvSpPr>
          <p:spPr>
            <a:xfrm>
              <a:off x="4445984" y="4376922"/>
              <a:ext cx="1020472" cy="261610"/>
            </a:xfrm>
            <a:prstGeom prst="rect">
              <a:avLst/>
            </a:prstGeom>
            <a:noFill/>
          </p:spPr>
          <p:txBody>
            <a:bodyPr wrap="none" lIns="45720" rIns="45720" rtlCol="0">
              <a:spAutoFit/>
            </a:bodyPr>
            <a:lstStyle/>
            <a:p>
              <a:pPr marL="0" marR="0" lvl="0" indent="0" algn="ctr" defTabSz="456804" eaLnBrk="1" fontAlgn="auto" latinLnBrk="0" hangingPunct="1">
                <a:lnSpc>
                  <a:spcPct val="100000"/>
                </a:lnSpc>
                <a:spcBef>
                  <a:spcPts val="0"/>
                </a:spcBef>
                <a:spcAft>
                  <a:spcPts val="0"/>
                </a:spcAft>
                <a:buClrTx/>
                <a:buSzTx/>
                <a:buFontTx/>
                <a:buNone/>
                <a:tabLst/>
                <a:defRPr/>
              </a:pPr>
              <a:r>
                <a:rPr kumimoji="0" lang="en-US" sz="1100" b="0" i="1" u="none" strike="noStrike" kern="0" cap="none" spc="0" normalizeH="0" baseline="0" noProof="0" dirty="0">
                  <a:ln>
                    <a:noFill/>
                  </a:ln>
                  <a:solidFill>
                    <a:srgbClr val="1F497D">
                      <a:lumMod val="50000"/>
                    </a:srgbClr>
                  </a:solidFill>
                  <a:effectLst/>
                  <a:uLnTx/>
                  <a:uFillTx/>
                  <a:latin typeface="Garamond" panose="02020404030301010803" pitchFamily="18" charset="0"/>
                  <a:cs typeface="Helvetica Neue"/>
                </a:rPr>
                <a:t>organizational focus</a:t>
              </a:r>
            </a:p>
          </p:txBody>
        </p:sp>
        <p:sp>
          <p:nvSpPr>
            <p:cNvPr id="28" name="Oval 27"/>
            <p:cNvSpPr/>
            <p:nvPr/>
          </p:nvSpPr>
          <p:spPr>
            <a:xfrm rot="18900000">
              <a:off x="3033093" y="1618299"/>
              <a:ext cx="3834732" cy="2042322"/>
            </a:xfrm>
            <a:prstGeom prst="ellipse">
              <a:avLst/>
            </a:prstGeom>
            <a:solidFill>
              <a:schemeClr val="accent1">
                <a:lumMod val="40000"/>
                <a:lumOff val="60000"/>
              </a:schemeClr>
            </a:solidFill>
            <a:ln w="12700" cap="flat" cmpd="sng" algn="ctr">
              <a:solidFill>
                <a:sysClr val="windowText" lastClr="000000"/>
              </a:solidFill>
              <a:prstDash val="solid"/>
            </a:ln>
            <a:effectLst/>
          </p:spPr>
          <p:txBody>
            <a:bodyPr rtlCol="0" anchor="ctr"/>
            <a:lstStyle/>
            <a:p>
              <a:pPr marL="0" marR="0" lvl="0" indent="0" algn="ctr" defTabSz="456804"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Garamond" panose="02020404030301010803" pitchFamily="18" charset="0"/>
                <a:ea typeface="+mn-ea"/>
                <a:cs typeface="+mn-cs"/>
              </a:endParaRPr>
            </a:p>
          </p:txBody>
        </p:sp>
        <p:sp>
          <p:nvSpPr>
            <p:cNvPr id="29" name="Oval 28"/>
            <p:cNvSpPr/>
            <p:nvPr/>
          </p:nvSpPr>
          <p:spPr>
            <a:xfrm rot="18900000">
              <a:off x="3170933" y="2280206"/>
              <a:ext cx="2900785" cy="1400227"/>
            </a:xfrm>
            <a:prstGeom prst="ellipse">
              <a:avLst/>
            </a:prstGeom>
            <a:solidFill>
              <a:schemeClr val="accent1">
                <a:lumMod val="75000"/>
              </a:schemeClr>
            </a:solidFill>
            <a:ln w="12700" cap="flat" cmpd="sng" algn="ctr">
              <a:solidFill>
                <a:sysClr val="windowText" lastClr="000000"/>
              </a:solidFill>
              <a:prstDash val="solid"/>
            </a:ln>
            <a:effectLst/>
          </p:spPr>
          <p:txBody>
            <a:bodyPr rtlCol="0" anchor="ctr"/>
            <a:lstStyle/>
            <a:p>
              <a:pPr marL="0" marR="0" lvl="0" indent="0" algn="ctr" defTabSz="456804"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Garamond" panose="02020404030301010803" pitchFamily="18" charset="0"/>
                <a:ea typeface="+mn-ea"/>
                <a:cs typeface="+mn-cs"/>
              </a:endParaRPr>
            </a:p>
          </p:txBody>
        </p:sp>
        <p:sp>
          <p:nvSpPr>
            <p:cNvPr id="30" name="Oval 29"/>
            <p:cNvSpPr/>
            <p:nvPr/>
          </p:nvSpPr>
          <p:spPr>
            <a:xfrm rot="18900000">
              <a:off x="3330673" y="2766335"/>
              <a:ext cx="1909285" cy="1158144"/>
            </a:xfrm>
            <a:prstGeom prst="ellipse">
              <a:avLst/>
            </a:prstGeom>
            <a:solidFill>
              <a:schemeClr val="accent4"/>
            </a:solidFill>
            <a:ln w="12700" cap="flat" cmpd="sng" algn="ctr">
              <a:solidFill>
                <a:sysClr val="windowText" lastClr="000000"/>
              </a:solidFill>
              <a:prstDash val="solid"/>
            </a:ln>
            <a:effectLst/>
          </p:spPr>
          <p:txBody>
            <a:bodyPr rtlCol="0" anchor="ctr"/>
            <a:lstStyle/>
            <a:p>
              <a:pPr marL="0" marR="0" lvl="0" indent="0" algn="ctr" defTabSz="456804"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Garamond" panose="02020404030301010803" pitchFamily="18" charset="0"/>
                <a:ea typeface="+mn-ea"/>
                <a:cs typeface="+mn-cs"/>
              </a:endParaRPr>
            </a:p>
          </p:txBody>
        </p:sp>
        <p:sp>
          <p:nvSpPr>
            <p:cNvPr id="31" name="Oval 30"/>
            <p:cNvSpPr/>
            <p:nvPr/>
          </p:nvSpPr>
          <p:spPr>
            <a:xfrm rot="18900000">
              <a:off x="3484300" y="3321122"/>
              <a:ext cx="981858" cy="722763"/>
            </a:xfrm>
            <a:prstGeom prst="ellipse">
              <a:avLst/>
            </a:prstGeom>
            <a:solidFill>
              <a:schemeClr val="accent4">
                <a:lumMod val="75000"/>
              </a:schemeClr>
            </a:solidFill>
            <a:ln w="12700" cap="flat" cmpd="sng" algn="ctr">
              <a:solidFill>
                <a:sysClr val="windowText" lastClr="000000"/>
              </a:solidFill>
              <a:prstDash val="solid"/>
            </a:ln>
            <a:effectLst/>
          </p:spPr>
          <p:txBody>
            <a:bodyPr rtlCol="0" anchor="ctr"/>
            <a:lstStyle/>
            <a:p>
              <a:pPr marL="0" marR="0" lvl="0" indent="0" algn="ctr" defTabSz="456804"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Garamond" panose="02020404030301010803" pitchFamily="18" charset="0"/>
                <a:ea typeface="+mn-ea"/>
                <a:cs typeface="+mn-cs"/>
              </a:endParaRPr>
            </a:p>
          </p:txBody>
        </p:sp>
        <p:sp>
          <p:nvSpPr>
            <p:cNvPr id="32" name="Rectangle 31"/>
            <p:cNvSpPr/>
            <p:nvPr/>
          </p:nvSpPr>
          <p:spPr>
            <a:xfrm>
              <a:off x="5521775" y="1343024"/>
              <a:ext cx="877742" cy="415498"/>
            </a:xfrm>
            <a:prstGeom prst="rect">
              <a:avLst/>
            </a:prstGeom>
          </p:spPr>
          <p:txBody>
            <a:bodyPr wrap="square">
              <a:spAutoFit/>
            </a:bodyPr>
            <a:lstStyle/>
            <a:p>
              <a:pPr marL="0" marR="0" lvl="0" indent="0" algn="ctr" defTabSz="456804" eaLnBrk="1" fontAlgn="auto" latinLnBrk="0" hangingPunct="1">
                <a:lnSpc>
                  <a:spcPct val="100000"/>
                </a:lnSpc>
                <a:spcBef>
                  <a:spcPts val="0"/>
                </a:spcBef>
                <a:spcAft>
                  <a:spcPts val="0"/>
                </a:spcAft>
                <a:buClrTx/>
                <a:buSzTx/>
                <a:buFontTx/>
                <a:buNone/>
                <a:tabLst/>
                <a:defRPr/>
              </a:pPr>
              <a:r>
                <a:rPr kumimoji="0" lang="en-US" sz="1050" b="1" i="1" u="none" strike="noStrike" kern="0" cap="none" spc="0" normalizeH="0" baseline="0" noProof="0" dirty="0">
                  <a:ln>
                    <a:noFill/>
                  </a:ln>
                  <a:solidFill>
                    <a:prstClr val="black"/>
                  </a:solidFill>
                  <a:effectLst/>
                  <a:uLnTx/>
                  <a:uFillTx/>
                  <a:latin typeface="Garamond" panose="02020404030301010803" pitchFamily="18" charset="0"/>
                </a:rPr>
                <a:t>Business</a:t>
              </a:r>
              <a:br>
                <a:rPr kumimoji="0" lang="en-US" sz="1050" b="1" i="1" u="none" strike="noStrike" kern="0" cap="none" spc="0" normalizeH="0" baseline="0" noProof="0" dirty="0">
                  <a:ln>
                    <a:noFill/>
                  </a:ln>
                  <a:solidFill>
                    <a:prstClr val="black"/>
                  </a:solidFill>
                  <a:effectLst/>
                  <a:uLnTx/>
                  <a:uFillTx/>
                  <a:latin typeface="Garamond" panose="02020404030301010803" pitchFamily="18" charset="0"/>
                </a:rPr>
              </a:br>
              <a:r>
                <a:rPr kumimoji="0" lang="en-US" sz="1050" b="1" i="1" u="none" strike="noStrike" kern="0" cap="none" spc="0" normalizeH="0" baseline="0" noProof="0" dirty="0">
                  <a:ln>
                    <a:noFill/>
                  </a:ln>
                  <a:solidFill>
                    <a:prstClr val="black"/>
                  </a:solidFill>
                  <a:effectLst/>
                  <a:uLnTx/>
                  <a:uFillTx/>
                  <a:latin typeface="Garamond" panose="02020404030301010803" pitchFamily="18" charset="0"/>
                </a:rPr>
                <a:t>Capabilities</a:t>
              </a:r>
            </a:p>
          </p:txBody>
        </p:sp>
        <p:sp>
          <p:nvSpPr>
            <p:cNvPr id="33" name="Rectangle 32"/>
            <p:cNvSpPr/>
            <p:nvPr/>
          </p:nvSpPr>
          <p:spPr>
            <a:xfrm>
              <a:off x="4828374" y="1996844"/>
              <a:ext cx="892625" cy="577081"/>
            </a:xfrm>
            <a:prstGeom prst="rect">
              <a:avLst/>
            </a:prstGeom>
          </p:spPr>
          <p:txBody>
            <a:bodyPr wrap="square">
              <a:spAutoFit/>
            </a:bodyPr>
            <a:lstStyle/>
            <a:p>
              <a:pPr marL="0" marR="0" lvl="0" indent="0" algn="ctr" defTabSz="456804" eaLnBrk="1" fontAlgn="auto" latinLnBrk="0" hangingPunct="1">
                <a:lnSpc>
                  <a:spcPct val="100000"/>
                </a:lnSpc>
                <a:spcBef>
                  <a:spcPts val="0"/>
                </a:spcBef>
                <a:spcAft>
                  <a:spcPts val="0"/>
                </a:spcAft>
                <a:buClrTx/>
                <a:buSzTx/>
                <a:buFontTx/>
                <a:buNone/>
                <a:tabLst/>
                <a:defRPr/>
              </a:pPr>
              <a:r>
                <a:rPr kumimoji="0" lang="en-US" sz="1050" b="1" i="1" u="none" strike="noStrike" kern="0" cap="none" spc="0" normalizeH="0" baseline="0" noProof="0" dirty="0">
                  <a:ln>
                    <a:noFill/>
                  </a:ln>
                  <a:solidFill>
                    <a:prstClr val="white"/>
                  </a:solidFill>
                  <a:effectLst/>
                  <a:uLnTx/>
                  <a:uFillTx/>
                  <a:latin typeface="Garamond" panose="02020404030301010803" pitchFamily="18" charset="0"/>
                </a:rPr>
                <a:t>Business</a:t>
              </a:r>
              <a:br>
                <a:rPr kumimoji="0" lang="en-US" sz="1050" b="1" i="1" u="none" strike="noStrike" kern="0" cap="none" spc="0" normalizeH="0" baseline="0" noProof="0" dirty="0">
                  <a:ln>
                    <a:noFill/>
                  </a:ln>
                  <a:solidFill>
                    <a:prstClr val="white"/>
                  </a:solidFill>
                  <a:effectLst/>
                  <a:uLnTx/>
                  <a:uFillTx/>
                  <a:latin typeface="Garamond" panose="02020404030301010803" pitchFamily="18" charset="0"/>
                </a:rPr>
              </a:br>
              <a:r>
                <a:rPr kumimoji="0" lang="en-US" sz="1050" b="1" i="1" u="none" strike="noStrike" kern="0" cap="none" spc="0" normalizeH="0" baseline="0" noProof="0" dirty="0">
                  <a:ln>
                    <a:noFill/>
                  </a:ln>
                  <a:solidFill>
                    <a:prstClr val="white"/>
                  </a:solidFill>
                  <a:effectLst/>
                  <a:uLnTx/>
                  <a:uFillTx/>
                  <a:latin typeface="Garamond" panose="02020404030301010803" pitchFamily="18" charset="0"/>
                </a:rPr>
                <a:t>Application</a:t>
              </a:r>
              <a:br>
                <a:rPr kumimoji="0" lang="en-US" sz="1050" b="1" i="1" u="none" strike="noStrike" kern="0" cap="none" spc="0" normalizeH="0" baseline="0" noProof="0" dirty="0">
                  <a:ln>
                    <a:noFill/>
                  </a:ln>
                  <a:solidFill>
                    <a:prstClr val="white"/>
                  </a:solidFill>
                  <a:effectLst/>
                  <a:uLnTx/>
                  <a:uFillTx/>
                  <a:latin typeface="Garamond" panose="02020404030301010803" pitchFamily="18" charset="0"/>
                </a:rPr>
              </a:br>
              <a:r>
                <a:rPr kumimoji="0" lang="en-US" sz="1050" b="1" i="1" u="none" strike="noStrike" kern="0" cap="none" spc="0" normalizeH="0" baseline="0" noProof="0" dirty="0">
                  <a:ln>
                    <a:noFill/>
                  </a:ln>
                  <a:solidFill>
                    <a:prstClr val="white"/>
                  </a:solidFill>
                  <a:effectLst/>
                  <a:uLnTx/>
                  <a:uFillTx/>
                  <a:latin typeface="Garamond" panose="02020404030301010803" pitchFamily="18" charset="0"/>
                </a:rPr>
                <a:t>Services</a:t>
              </a:r>
            </a:p>
          </p:txBody>
        </p:sp>
        <p:sp>
          <p:nvSpPr>
            <p:cNvPr id="34" name="Rectangle 33"/>
            <p:cNvSpPr/>
            <p:nvPr/>
          </p:nvSpPr>
          <p:spPr>
            <a:xfrm>
              <a:off x="4254650" y="2694608"/>
              <a:ext cx="735668" cy="577081"/>
            </a:xfrm>
            <a:prstGeom prst="rect">
              <a:avLst/>
            </a:prstGeom>
          </p:spPr>
          <p:txBody>
            <a:bodyPr wrap="square">
              <a:spAutoFit/>
            </a:bodyPr>
            <a:lstStyle/>
            <a:p>
              <a:pPr marL="0" marR="0" lvl="0" indent="0" algn="ctr" defTabSz="456804" eaLnBrk="1" fontAlgn="auto" latinLnBrk="0" hangingPunct="1">
                <a:lnSpc>
                  <a:spcPct val="100000"/>
                </a:lnSpc>
                <a:spcBef>
                  <a:spcPts val="0"/>
                </a:spcBef>
                <a:spcAft>
                  <a:spcPts val="0"/>
                </a:spcAft>
                <a:buClrTx/>
                <a:buSzTx/>
                <a:buFontTx/>
                <a:buNone/>
                <a:tabLst/>
                <a:defRPr/>
              </a:pPr>
              <a:r>
                <a:rPr kumimoji="0" lang="en-US" sz="1050" b="1" i="1" u="none" strike="noStrike" kern="0" cap="none" spc="0" normalizeH="0" baseline="0" noProof="0" dirty="0">
                  <a:ln>
                    <a:noFill/>
                  </a:ln>
                  <a:solidFill>
                    <a:prstClr val="white"/>
                  </a:solidFill>
                  <a:effectLst/>
                  <a:uLnTx/>
                  <a:uFillTx/>
                  <a:latin typeface="Garamond" panose="02020404030301010803" pitchFamily="18" charset="0"/>
                </a:rPr>
                <a:t>Tech /</a:t>
              </a:r>
              <a:br>
                <a:rPr kumimoji="0" lang="en-US" sz="1050" b="1" i="1" u="none" strike="noStrike" kern="0" cap="none" spc="0" normalizeH="0" baseline="0" noProof="0" dirty="0">
                  <a:ln>
                    <a:noFill/>
                  </a:ln>
                  <a:solidFill>
                    <a:prstClr val="white"/>
                  </a:solidFill>
                  <a:effectLst/>
                  <a:uLnTx/>
                  <a:uFillTx/>
                  <a:latin typeface="Garamond" panose="02020404030301010803" pitchFamily="18" charset="0"/>
                </a:rPr>
              </a:br>
              <a:r>
                <a:rPr kumimoji="0" lang="en-US" sz="1050" b="1" i="1" u="none" strike="noStrike" kern="0" cap="none" spc="0" normalizeH="0" baseline="0" noProof="0" dirty="0">
                  <a:ln>
                    <a:noFill/>
                  </a:ln>
                  <a:solidFill>
                    <a:prstClr val="white"/>
                  </a:solidFill>
                  <a:effectLst/>
                  <a:uLnTx/>
                  <a:uFillTx/>
                  <a:latin typeface="Garamond" panose="02020404030301010803" pitchFamily="18" charset="0"/>
                </a:rPr>
                <a:t>End-User</a:t>
              </a:r>
            </a:p>
            <a:p>
              <a:pPr marL="0" marR="0" lvl="0" indent="0" algn="ctr" defTabSz="456804" eaLnBrk="1" fontAlgn="auto" latinLnBrk="0" hangingPunct="1">
                <a:lnSpc>
                  <a:spcPct val="100000"/>
                </a:lnSpc>
                <a:spcBef>
                  <a:spcPts val="0"/>
                </a:spcBef>
                <a:spcAft>
                  <a:spcPts val="0"/>
                </a:spcAft>
                <a:buClrTx/>
                <a:buSzTx/>
                <a:buFontTx/>
                <a:buNone/>
                <a:tabLst/>
                <a:defRPr/>
              </a:pPr>
              <a:r>
                <a:rPr kumimoji="0" lang="en-US" sz="1050" b="1" i="1" u="none" strike="noStrike" kern="0" cap="none" spc="0" normalizeH="0" baseline="0" noProof="0" dirty="0">
                  <a:ln>
                    <a:noFill/>
                  </a:ln>
                  <a:solidFill>
                    <a:prstClr val="white"/>
                  </a:solidFill>
                  <a:effectLst/>
                  <a:uLnTx/>
                  <a:uFillTx/>
                  <a:latin typeface="Garamond" panose="02020404030301010803" pitchFamily="18" charset="0"/>
                </a:rPr>
                <a:t>Services</a:t>
              </a:r>
            </a:p>
          </p:txBody>
        </p:sp>
        <p:sp>
          <p:nvSpPr>
            <p:cNvPr id="35" name="Rectangle 34"/>
            <p:cNvSpPr/>
            <p:nvPr/>
          </p:nvSpPr>
          <p:spPr>
            <a:xfrm>
              <a:off x="3529027" y="3389133"/>
              <a:ext cx="796810" cy="553998"/>
            </a:xfrm>
            <a:prstGeom prst="rect">
              <a:avLst/>
            </a:prstGeom>
          </p:spPr>
          <p:txBody>
            <a:bodyPr wrap="square">
              <a:spAutoFit/>
            </a:bodyPr>
            <a:lstStyle/>
            <a:p>
              <a:pPr marL="0" marR="0" lvl="0" indent="0" algn="ctr" defTabSz="456804" eaLnBrk="1" fontAlgn="auto" latinLnBrk="0" hangingPunct="1">
                <a:lnSpc>
                  <a:spcPct val="100000"/>
                </a:lnSpc>
                <a:spcBef>
                  <a:spcPts val="0"/>
                </a:spcBef>
                <a:spcAft>
                  <a:spcPts val="0"/>
                </a:spcAft>
                <a:buClrTx/>
                <a:buSzTx/>
                <a:buFontTx/>
                <a:buNone/>
                <a:tabLst/>
                <a:defRPr/>
              </a:pPr>
              <a:r>
                <a:rPr kumimoji="0" lang="en-US" sz="1050" b="1" i="1" u="none" strike="noStrike" kern="0" cap="none" spc="0" normalizeH="0" baseline="0" noProof="0" dirty="0">
                  <a:ln>
                    <a:noFill/>
                  </a:ln>
                  <a:solidFill>
                    <a:prstClr val="white"/>
                  </a:solidFill>
                  <a:effectLst/>
                  <a:uLnTx/>
                  <a:uFillTx/>
                  <a:latin typeface="Garamond" panose="02020404030301010803" pitchFamily="18" charset="0"/>
                </a:rPr>
                <a:t>IT</a:t>
              </a:r>
              <a:br>
                <a:rPr kumimoji="0" lang="en-US" sz="1050" b="1" i="1" u="none" strike="noStrike" kern="0" cap="none" spc="0" normalizeH="0" baseline="0" noProof="0" dirty="0">
                  <a:ln>
                    <a:noFill/>
                  </a:ln>
                  <a:solidFill>
                    <a:prstClr val="white"/>
                  </a:solidFill>
                  <a:effectLst/>
                  <a:uLnTx/>
                  <a:uFillTx/>
                  <a:latin typeface="Garamond" panose="02020404030301010803" pitchFamily="18" charset="0"/>
                </a:rPr>
              </a:br>
              <a:r>
                <a:rPr kumimoji="0" lang="en-US" sz="1050" b="1" i="1" u="none" strike="noStrike" kern="0" cap="none" spc="0" normalizeH="0" baseline="0" noProof="0" dirty="0">
                  <a:ln>
                    <a:noFill/>
                  </a:ln>
                  <a:solidFill>
                    <a:prstClr val="white"/>
                  </a:solidFill>
                  <a:effectLst/>
                  <a:uLnTx/>
                  <a:uFillTx/>
                  <a:latin typeface="Garamond" panose="02020404030301010803" pitchFamily="18" charset="0"/>
                </a:rPr>
                <a:t>Towers</a:t>
              </a:r>
            </a:p>
            <a:p>
              <a:pPr marL="0" marR="0" lvl="0" indent="0" algn="ctr" defTabSz="456804" eaLnBrk="1" fontAlgn="auto" latinLnBrk="0" hangingPunct="1">
                <a:lnSpc>
                  <a:spcPct val="100000"/>
                </a:lnSpc>
                <a:spcBef>
                  <a:spcPts val="0"/>
                </a:spcBef>
                <a:spcAft>
                  <a:spcPts val="0"/>
                </a:spcAft>
                <a:buClrTx/>
                <a:buSzTx/>
                <a:buFontTx/>
                <a:buNone/>
                <a:tabLst/>
                <a:defRPr/>
              </a:pPr>
              <a:r>
                <a:rPr kumimoji="0" lang="en-US" sz="900" b="1" i="1" u="none" strike="noStrike" kern="0" cap="none" spc="0" normalizeH="0" baseline="0" noProof="0" dirty="0">
                  <a:ln>
                    <a:noFill/>
                  </a:ln>
                  <a:solidFill>
                    <a:prstClr val="white"/>
                  </a:solidFill>
                  <a:effectLst/>
                  <a:uLnTx/>
                  <a:uFillTx/>
                  <a:latin typeface="Garamond" panose="02020404030301010803" pitchFamily="18" charset="0"/>
                </a:rPr>
                <a:t>(Resources)</a:t>
              </a:r>
            </a:p>
          </p:txBody>
        </p:sp>
        <p:sp>
          <p:nvSpPr>
            <p:cNvPr id="36" name="TextBox 35"/>
            <p:cNvSpPr txBox="1"/>
            <p:nvPr/>
          </p:nvSpPr>
          <p:spPr>
            <a:xfrm>
              <a:off x="2167064" y="3850698"/>
              <a:ext cx="947407" cy="211686"/>
            </a:xfrm>
            <a:prstGeom prst="roundRect">
              <a:avLst/>
            </a:prstGeom>
            <a:noFill/>
            <a:ln w="25400" cap="flat" cmpd="sng" algn="ctr">
              <a:noFill/>
              <a:prstDash val="solid"/>
            </a:ln>
            <a:effectLst/>
          </p:spPr>
          <p:txBody>
            <a:bodyPr wrap="none" rtlCol="0">
              <a:noAutofit/>
            </a:bodyPr>
            <a:lstStyle/>
            <a:p>
              <a:pPr marL="0" marR="0" lvl="0" indent="0" algn="ctr" defTabSz="456804"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prstClr val="black"/>
                  </a:solidFill>
                  <a:effectLst/>
                  <a:uLnTx/>
                  <a:uFillTx/>
                  <a:latin typeface="Garamond" panose="02020404030301010803" pitchFamily="18" charset="0"/>
                  <a:ea typeface="+mn-ea"/>
                  <a:cs typeface="Helvetica Neue"/>
                </a:rPr>
                <a:t>Expense Center</a:t>
              </a:r>
            </a:p>
          </p:txBody>
        </p:sp>
        <p:sp>
          <p:nvSpPr>
            <p:cNvPr id="37" name="TextBox 36"/>
            <p:cNvSpPr txBox="1"/>
            <p:nvPr/>
          </p:nvSpPr>
          <p:spPr>
            <a:xfrm>
              <a:off x="2167064" y="2984163"/>
              <a:ext cx="947407" cy="211686"/>
            </a:xfrm>
            <a:prstGeom prst="roundRect">
              <a:avLst/>
            </a:prstGeom>
            <a:noFill/>
            <a:ln w="25400" cap="flat" cmpd="sng" algn="ctr">
              <a:noFill/>
              <a:prstDash val="solid"/>
            </a:ln>
            <a:effectLst/>
          </p:spPr>
          <p:txBody>
            <a:bodyPr wrap="none" rtlCol="0">
              <a:noAutofit/>
            </a:bodyPr>
            <a:lstStyle/>
            <a:p>
              <a:pPr marL="0" marR="0" lvl="0" indent="0" algn="ctr" defTabSz="456804"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prstClr val="black"/>
                  </a:solidFill>
                  <a:effectLst/>
                  <a:uLnTx/>
                  <a:uFillTx/>
                  <a:latin typeface="Garamond" panose="02020404030301010803" pitchFamily="18" charset="0"/>
                  <a:ea typeface="+mn-ea"/>
                  <a:cs typeface="Helvetica Neue"/>
                </a:rPr>
                <a:t>Service Provider</a:t>
              </a:r>
            </a:p>
          </p:txBody>
        </p:sp>
        <p:sp>
          <p:nvSpPr>
            <p:cNvPr id="38" name="TextBox 37"/>
            <p:cNvSpPr txBox="1"/>
            <p:nvPr/>
          </p:nvSpPr>
          <p:spPr>
            <a:xfrm>
              <a:off x="2167064" y="2042701"/>
              <a:ext cx="947407" cy="211686"/>
            </a:xfrm>
            <a:prstGeom prst="roundRect">
              <a:avLst/>
            </a:prstGeom>
            <a:noFill/>
            <a:ln w="25400" cap="flat" cmpd="sng" algn="ctr">
              <a:noFill/>
              <a:prstDash val="solid"/>
            </a:ln>
            <a:effectLst/>
          </p:spPr>
          <p:txBody>
            <a:bodyPr wrap="none" rtlCol="0">
              <a:noAutofit/>
            </a:bodyPr>
            <a:lstStyle/>
            <a:p>
              <a:pPr marL="0" marR="0" lvl="0" indent="0" algn="ctr" defTabSz="456804"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prstClr val="black"/>
                  </a:solidFill>
                  <a:effectLst/>
                  <a:uLnTx/>
                  <a:uFillTx/>
                  <a:latin typeface="Garamond" panose="02020404030301010803" pitchFamily="18" charset="0"/>
                  <a:ea typeface="+mn-ea"/>
                  <a:cs typeface="Helvetica Neue"/>
                </a:rPr>
                <a:t>Value Partner</a:t>
              </a:r>
            </a:p>
          </p:txBody>
        </p:sp>
        <p:sp>
          <p:nvSpPr>
            <p:cNvPr id="39" name="TextBox 38"/>
            <p:cNvSpPr txBox="1"/>
            <p:nvPr/>
          </p:nvSpPr>
          <p:spPr>
            <a:xfrm>
              <a:off x="2167064" y="1101133"/>
              <a:ext cx="947407" cy="211686"/>
            </a:xfrm>
            <a:prstGeom prst="roundRect">
              <a:avLst/>
            </a:prstGeom>
            <a:noFill/>
            <a:ln w="25400" cap="flat" cmpd="sng" algn="ctr">
              <a:noFill/>
              <a:prstDash val="solid"/>
            </a:ln>
            <a:effectLst/>
          </p:spPr>
          <p:txBody>
            <a:bodyPr wrap="none" rtlCol="0">
              <a:noAutofit/>
            </a:bodyPr>
            <a:lstStyle/>
            <a:p>
              <a:pPr marL="0" marR="0" lvl="0" indent="0" algn="ctr" defTabSz="456804"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prstClr val="black"/>
                  </a:solidFill>
                  <a:effectLst/>
                  <a:uLnTx/>
                  <a:uFillTx/>
                  <a:latin typeface="Garamond" panose="02020404030301010803" pitchFamily="18" charset="0"/>
                  <a:ea typeface="+mn-ea"/>
                  <a:cs typeface="Helvetica Neue"/>
                </a:rPr>
                <a:t>Business Driver</a:t>
              </a:r>
            </a:p>
          </p:txBody>
        </p:sp>
      </p:grpSp>
      <p:pic>
        <p:nvPicPr>
          <p:cNvPr id="42" name="Picture 41"/>
          <p:cNvPicPr>
            <a:picLocks noChangeAspect="1"/>
          </p:cNvPicPr>
          <p:nvPr/>
        </p:nvPicPr>
        <p:blipFill>
          <a:blip r:embed="rId2"/>
          <a:stretch>
            <a:fillRect/>
          </a:stretch>
        </p:blipFill>
        <p:spPr>
          <a:xfrm>
            <a:off x="8138160" y="45720"/>
            <a:ext cx="914400" cy="569121"/>
          </a:xfrm>
          <a:prstGeom prst="rect">
            <a:avLst/>
          </a:prstGeom>
        </p:spPr>
      </p:pic>
    </p:spTree>
    <p:extLst>
      <p:ext uri="{BB962C8B-B14F-4D97-AF65-F5344CB8AC3E}">
        <p14:creationId xmlns:p14="http://schemas.microsoft.com/office/powerpoint/2010/main" val="1931634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5" name="Group 84"/>
          <p:cNvGrpSpPr/>
          <p:nvPr/>
        </p:nvGrpSpPr>
        <p:grpSpPr>
          <a:xfrm>
            <a:off x="267510" y="2708253"/>
            <a:ext cx="8511035" cy="1052402"/>
            <a:chOff x="267510" y="2708076"/>
            <a:chExt cx="8511035" cy="1052402"/>
          </a:xfrm>
        </p:grpSpPr>
        <p:sp>
          <p:nvSpPr>
            <p:cNvPr id="44" name="Rectangle 99"/>
            <p:cNvSpPr/>
            <p:nvPr/>
          </p:nvSpPr>
          <p:spPr>
            <a:xfrm>
              <a:off x="267510" y="2708076"/>
              <a:ext cx="8511035" cy="1052402"/>
            </a:xfrm>
            <a:prstGeom prst="rect">
              <a:avLst/>
            </a:prstGeom>
            <a:solidFill>
              <a:schemeClr val="accent3">
                <a:lumMod val="75000"/>
              </a:schemeClr>
            </a:solidFill>
            <a:ln w="762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t"/>
            <a:lstStyle/>
            <a:p>
              <a:r>
                <a:rPr lang="en-US" sz="1200" b="1" dirty="0">
                  <a:solidFill>
                    <a:schemeClr val="bg1"/>
                  </a:solidFill>
                  <a:latin typeface="Garamond" panose="02020404030301010803" pitchFamily="18" charset="0"/>
                  <a:ea typeface="Roboto Condensed" panose="02000000000000000000" pitchFamily="2" charset="0"/>
                </a:rPr>
                <a:t>IT Towers</a:t>
              </a:r>
            </a:p>
          </p:txBody>
        </p:sp>
        <p:grpSp>
          <p:nvGrpSpPr>
            <p:cNvPr id="77" name="Group 76"/>
            <p:cNvGrpSpPr/>
            <p:nvPr/>
          </p:nvGrpSpPr>
          <p:grpSpPr>
            <a:xfrm>
              <a:off x="2530288" y="2789090"/>
              <a:ext cx="6120314" cy="890374"/>
              <a:chOff x="3852236" y="2870104"/>
              <a:chExt cx="4798366" cy="737925"/>
            </a:xfrm>
          </p:grpSpPr>
          <p:sp>
            <p:nvSpPr>
              <p:cNvPr id="47" name="Rectangle 155"/>
              <p:cNvSpPr>
                <a:spLocks/>
              </p:cNvSpPr>
              <p:nvPr/>
            </p:nvSpPr>
            <p:spPr>
              <a:xfrm rot="10800000" flipV="1">
                <a:off x="3852236" y="3298603"/>
                <a:ext cx="909595" cy="309426"/>
              </a:xfrm>
              <a:prstGeom prst="rect">
                <a:avLst/>
              </a:prstGeom>
              <a:solidFill>
                <a:schemeClr val="bg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000" dirty="0">
                    <a:solidFill>
                      <a:srgbClr val="000000"/>
                    </a:solidFill>
                    <a:latin typeface="Garamond" panose="02020404030301010803" pitchFamily="18" charset="0"/>
                    <a:ea typeface="Roboto Condensed" panose="02000000000000000000" pitchFamily="2" charset="0"/>
                  </a:rPr>
                  <a:t>End User</a:t>
                </a:r>
              </a:p>
            </p:txBody>
          </p:sp>
          <p:sp>
            <p:nvSpPr>
              <p:cNvPr id="48" name="Rectangle 133"/>
              <p:cNvSpPr>
                <a:spLocks/>
              </p:cNvSpPr>
              <p:nvPr/>
            </p:nvSpPr>
            <p:spPr>
              <a:xfrm rot="10800000" flipV="1">
                <a:off x="4824429" y="3298603"/>
                <a:ext cx="909595" cy="309426"/>
              </a:xfrm>
              <a:prstGeom prst="rect">
                <a:avLst/>
              </a:prstGeom>
              <a:solidFill>
                <a:schemeClr val="bg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000" dirty="0">
                    <a:solidFill>
                      <a:srgbClr val="000000"/>
                    </a:solidFill>
                    <a:latin typeface="Garamond" panose="02020404030301010803" pitchFamily="18" charset="0"/>
                    <a:ea typeface="Roboto Condensed" panose="02000000000000000000" pitchFamily="2" charset="0"/>
                  </a:rPr>
                  <a:t>Application</a:t>
                </a:r>
              </a:p>
            </p:txBody>
          </p:sp>
          <p:sp>
            <p:nvSpPr>
              <p:cNvPr id="49" name="Rectangle 382"/>
              <p:cNvSpPr>
                <a:spLocks/>
              </p:cNvSpPr>
              <p:nvPr/>
            </p:nvSpPr>
            <p:spPr>
              <a:xfrm rot="10800000" flipV="1">
                <a:off x="5796622" y="3298603"/>
                <a:ext cx="909595" cy="309426"/>
              </a:xfrm>
              <a:prstGeom prst="rect">
                <a:avLst/>
              </a:prstGeom>
              <a:solidFill>
                <a:schemeClr val="bg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000" dirty="0">
                    <a:solidFill>
                      <a:srgbClr val="000000"/>
                    </a:solidFill>
                    <a:latin typeface="Garamond" panose="02020404030301010803" pitchFamily="18" charset="0"/>
                    <a:ea typeface="Roboto Condensed" panose="02000000000000000000" pitchFamily="2" charset="0"/>
                  </a:rPr>
                  <a:t>Delivery</a:t>
                </a:r>
              </a:p>
            </p:txBody>
          </p:sp>
          <p:sp>
            <p:nvSpPr>
              <p:cNvPr id="50" name="Rectangle 379"/>
              <p:cNvSpPr>
                <a:spLocks/>
              </p:cNvSpPr>
              <p:nvPr/>
            </p:nvSpPr>
            <p:spPr>
              <a:xfrm rot="10800000" flipV="1">
                <a:off x="7741007" y="3298603"/>
                <a:ext cx="909595" cy="309426"/>
              </a:xfrm>
              <a:prstGeom prst="rect">
                <a:avLst/>
              </a:prstGeom>
              <a:solidFill>
                <a:schemeClr val="bg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000" dirty="0">
                    <a:solidFill>
                      <a:srgbClr val="000000"/>
                    </a:solidFill>
                    <a:latin typeface="Garamond" panose="02020404030301010803" pitchFamily="18" charset="0"/>
                    <a:ea typeface="Roboto Condensed" panose="02000000000000000000" pitchFamily="2" charset="0"/>
                  </a:rPr>
                  <a:t>IT Management</a:t>
                </a:r>
              </a:p>
            </p:txBody>
          </p:sp>
          <p:sp>
            <p:nvSpPr>
              <p:cNvPr id="51" name="Rectangle 376"/>
              <p:cNvSpPr>
                <a:spLocks/>
              </p:cNvSpPr>
              <p:nvPr/>
            </p:nvSpPr>
            <p:spPr>
              <a:xfrm rot="10800000" flipV="1">
                <a:off x="6768815" y="3298603"/>
                <a:ext cx="909595" cy="309426"/>
              </a:xfrm>
              <a:prstGeom prst="rect">
                <a:avLst/>
              </a:prstGeom>
              <a:solidFill>
                <a:schemeClr val="bg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000" dirty="0">
                    <a:solidFill>
                      <a:srgbClr val="000000"/>
                    </a:solidFill>
                    <a:latin typeface="Garamond" panose="02020404030301010803" pitchFamily="18" charset="0"/>
                    <a:ea typeface="Roboto Condensed" panose="02000000000000000000" pitchFamily="2" charset="0"/>
                  </a:rPr>
                  <a:t>Security &amp; Compliance</a:t>
                </a:r>
              </a:p>
            </p:txBody>
          </p:sp>
          <p:sp>
            <p:nvSpPr>
              <p:cNvPr id="52" name="Rectangle 373"/>
              <p:cNvSpPr>
                <a:spLocks/>
              </p:cNvSpPr>
              <p:nvPr/>
            </p:nvSpPr>
            <p:spPr>
              <a:xfrm rot="10800000" flipV="1">
                <a:off x="7741007" y="2870104"/>
                <a:ext cx="909595" cy="309426"/>
              </a:xfrm>
              <a:prstGeom prst="rect">
                <a:avLst/>
              </a:prstGeom>
              <a:solidFill>
                <a:schemeClr val="bg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000" dirty="0">
                    <a:solidFill>
                      <a:srgbClr val="000000"/>
                    </a:solidFill>
                    <a:latin typeface="Garamond" panose="02020404030301010803" pitchFamily="18" charset="0"/>
                    <a:ea typeface="Roboto Condensed" panose="02000000000000000000" pitchFamily="2" charset="0"/>
                  </a:rPr>
                  <a:t>Output</a:t>
                </a:r>
              </a:p>
            </p:txBody>
          </p:sp>
          <p:sp>
            <p:nvSpPr>
              <p:cNvPr id="54" name="Rectangle 367"/>
              <p:cNvSpPr>
                <a:spLocks/>
              </p:cNvSpPr>
              <p:nvPr/>
            </p:nvSpPr>
            <p:spPr>
              <a:xfrm rot="10800000" flipV="1">
                <a:off x="6768815" y="2870104"/>
                <a:ext cx="909595" cy="309426"/>
              </a:xfrm>
              <a:prstGeom prst="rect">
                <a:avLst/>
              </a:prstGeom>
              <a:solidFill>
                <a:schemeClr val="bg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000" dirty="0">
                    <a:solidFill>
                      <a:srgbClr val="000000"/>
                    </a:solidFill>
                    <a:latin typeface="Garamond" panose="02020404030301010803" pitchFamily="18" charset="0"/>
                    <a:ea typeface="Roboto Condensed" panose="02000000000000000000" pitchFamily="2" charset="0"/>
                  </a:rPr>
                  <a:t>Network</a:t>
                </a:r>
              </a:p>
            </p:txBody>
          </p:sp>
          <p:sp>
            <p:nvSpPr>
              <p:cNvPr id="55" name="Rectangle 357"/>
              <p:cNvSpPr>
                <a:spLocks/>
              </p:cNvSpPr>
              <p:nvPr/>
            </p:nvSpPr>
            <p:spPr>
              <a:xfrm rot="10800000" flipV="1">
                <a:off x="5796622" y="2872595"/>
                <a:ext cx="909595" cy="309426"/>
              </a:xfrm>
              <a:prstGeom prst="rect">
                <a:avLst/>
              </a:prstGeom>
              <a:solidFill>
                <a:schemeClr val="bg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000" dirty="0">
                    <a:solidFill>
                      <a:srgbClr val="000000"/>
                    </a:solidFill>
                    <a:latin typeface="Garamond" panose="02020404030301010803" pitchFamily="18" charset="0"/>
                    <a:ea typeface="Roboto Condensed" panose="02000000000000000000" pitchFamily="2" charset="0"/>
                  </a:rPr>
                  <a:t>Storage</a:t>
                </a:r>
              </a:p>
            </p:txBody>
          </p:sp>
          <p:sp>
            <p:nvSpPr>
              <p:cNvPr id="56" name="Rectangle 112"/>
              <p:cNvSpPr>
                <a:spLocks/>
              </p:cNvSpPr>
              <p:nvPr/>
            </p:nvSpPr>
            <p:spPr>
              <a:xfrm rot="10800000" flipV="1">
                <a:off x="4824429" y="2870104"/>
                <a:ext cx="909595" cy="309426"/>
              </a:xfrm>
              <a:prstGeom prst="rect">
                <a:avLst/>
              </a:prstGeom>
              <a:solidFill>
                <a:schemeClr val="bg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000" dirty="0">
                    <a:solidFill>
                      <a:srgbClr val="000000"/>
                    </a:solidFill>
                    <a:latin typeface="Garamond" panose="02020404030301010803" pitchFamily="18" charset="0"/>
                    <a:ea typeface="Roboto Condensed" panose="02000000000000000000" pitchFamily="2" charset="0"/>
                  </a:rPr>
                  <a:t>Compute</a:t>
                </a:r>
              </a:p>
            </p:txBody>
          </p:sp>
          <p:sp>
            <p:nvSpPr>
              <p:cNvPr id="57" name="Rectangle 353"/>
              <p:cNvSpPr>
                <a:spLocks/>
              </p:cNvSpPr>
              <p:nvPr/>
            </p:nvSpPr>
            <p:spPr>
              <a:xfrm rot="10800000" flipV="1">
                <a:off x="3852236" y="2870104"/>
                <a:ext cx="909595" cy="309426"/>
              </a:xfrm>
              <a:prstGeom prst="rect">
                <a:avLst/>
              </a:prstGeom>
              <a:solidFill>
                <a:schemeClr val="bg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000" dirty="0">
                    <a:solidFill>
                      <a:srgbClr val="000000"/>
                    </a:solidFill>
                    <a:latin typeface="Garamond" panose="02020404030301010803" pitchFamily="18" charset="0"/>
                    <a:ea typeface="Roboto Condensed" panose="02000000000000000000" pitchFamily="2" charset="0"/>
                  </a:rPr>
                  <a:t>Data Center</a:t>
                </a:r>
              </a:p>
            </p:txBody>
          </p:sp>
        </p:grpSp>
        <p:sp>
          <p:nvSpPr>
            <p:cNvPr id="46" name="Rectangle 45"/>
            <p:cNvSpPr/>
            <p:nvPr/>
          </p:nvSpPr>
          <p:spPr>
            <a:xfrm>
              <a:off x="326160" y="2908079"/>
              <a:ext cx="2191482" cy="726198"/>
            </a:xfrm>
            <a:prstGeom prst="rect">
              <a:avLst/>
            </a:prstGeom>
          </p:spPr>
          <p:txBody>
            <a:bodyPr wrap="square">
              <a:spAutoFit/>
            </a:bodyPr>
            <a:lstStyle/>
            <a:p>
              <a:r>
                <a:rPr lang="en-US" sz="1050" dirty="0">
                  <a:solidFill>
                    <a:schemeClr val="bg1"/>
                  </a:solidFill>
                  <a:latin typeface="Garamond" panose="02020404030301010803" pitchFamily="18" charset="0"/>
                  <a:ea typeface="Roboto Condensed" panose="02000000000000000000" pitchFamily="2" charset="0"/>
                  <a:cs typeface="Times New Roman" panose="02020603050405020304" pitchFamily="18" charset="0"/>
                </a:rPr>
                <a:t>Describe the technology functions supported by IT spend in terms and groupings relevant to the owners and consumers of those functions</a:t>
              </a:r>
              <a:endParaRPr lang="en-US" sz="1600" dirty="0">
                <a:solidFill>
                  <a:schemeClr val="bg1"/>
                </a:solidFill>
                <a:latin typeface="Garamond" panose="02020404030301010803" pitchFamily="18" charset="0"/>
                <a:ea typeface="Roboto Condensed" panose="02000000000000000000" pitchFamily="2" charset="0"/>
              </a:endParaRPr>
            </a:p>
          </p:txBody>
        </p:sp>
      </p:grpSp>
      <p:grpSp>
        <p:nvGrpSpPr>
          <p:cNvPr id="82" name="Group 81"/>
          <p:cNvGrpSpPr/>
          <p:nvPr/>
        </p:nvGrpSpPr>
        <p:grpSpPr>
          <a:xfrm>
            <a:off x="267564" y="882189"/>
            <a:ext cx="8511037" cy="659646"/>
            <a:chOff x="267564" y="827946"/>
            <a:chExt cx="8511037" cy="659646"/>
          </a:xfrm>
        </p:grpSpPr>
        <p:sp>
          <p:nvSpPr>
            <p:cNvPr id="15" name="Rectangle 18"/>
            <p:cNvSpPr/>
            <p:nvPr/>
          </p:nvSpPr>
          <p:spPr>
            <a:xfrm>
              <a:off x="267564" y="827946"/>
              <a:ext cx="8511037" cy="659646"/>
            </a:xfrm>
            <a:prstGeom prst="rect">
              <a:avLst/>
            </a:prstGeom>
            <a:solidFill>
              <a:schemeClr val="accent6">
                <a:lumMod val="20000"/>
                <a:lumOff val="80000"/>
              </a:schemeClr>
            </a:solidFill>
            <a:ln w="762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t"/>
            <a:lstStyle/>
            <a:p>
              <a:r>
                <a:rPr lang="en-US" sz="1200" b="1" dirty="0">
                  <a:solidFill>
                    <a:srgbClr val="000000"/>
                  </a:solidFill>
                  <a:latin typeface="Garamond" panose="02020404030301010803" pitchFamily="18" charset="0"/>
                  <a:ea typeface="Roboto Condensed" panose="02000000000000000000" pitchFamily="2" charset="0"/>
                </a:rPr>
                <a:t>Business Units or Capabilities</a:t>
              </a:r>
            </a:p>
          </p:txBody>
        </p:sp>
        <p:grpSp>
          <p:nvGrpSpPr>
            <p:cNvPr id="81" name="Group 80"/>
            <p:cNvGrpSpPr/>
            <p:nvPr/>
          </p:nvGrpSpPr>
          <p:grpSpPr>
            <a:xfrm>
              <a:off x="2517643" y="901363"/>
              <a:ext cx="6076231" cy="512812"/>
              <a:chOff x="2517643" y="1032751"/>
              <a:chExt cx="6076231" cy="363726"/>
            </a:xfrm>
          </p:grpSpPr>
          <p:sp>
            <p:nvSpPr>
              <p:cNvPr id="16" name="Rectangle 5"/>
              <p:cNvSpPr>
                <a:spLocks/>
              </p:cNvSpPr>
              <p:nvPr/>
            </p:nvSpPr>
            <p:spPr>
              <a:xfrm rot="10800000" flipV="1">
                <a:off x="3751363" y="1032751"/>
                <a:ext cx="1141350" cy="363726"/>
              </a:xfrm>
              <a:prstGeom prst="rect">
                <a:avLst/>
              </a:prstGeom>
              <a:solidFill>
                <a:schemeClr val="bg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000" dirty="0">
                    <a:solidFill>
                      <a:srgbClr val="000000"/>
                    </a:solidFill>
                    <a:latin typeface="Garamond" panose="02020404030301010803" pitchFamily="18" charset="0"/>
                    <a:ea typeface="Roboto Condensed" panose="02000000000000000000" pitchFamily="2" charset="0"/>
                  </a:rPr>
                  <a:t>Business Unit or Business Capability</a:t>
                </a:r>
              </a:p>
            </p:txBody>
          </p:sp>
          <p:sp>
            <p:nvSpPr>
              <p:cNvPr id="17" name="Rectangle 7"/>
              <p:cNvSpPr>
                <a:spLocks/>
              </p:cNvSpPr>
              <p:nvPr/>
            </p:nvSpPr>
            <p:spPr>
              <a:xfrm rot="10800000" flipV="1">
                <a:off x="4985083" y="1032751"/>
                <a:ext cx="1141350" cy="356880"/>
              </a:xfrm>
              <a:prstGeom prst="rect">
                <a:avLst/>
              </a:prstGeom>
              <a:solidFill>
                <a:schemeClr val="bg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000" dirty="0">
                    <a:solidFill>
                      <a:srgbClr val="000000"/>
                    </a:solidFill>
                    <a:latin typeface="Garamond" panose="02020404030301010803" pitchFamily="18" charset="0"/>
                    <a:ea typeface="Roboto Condensed" panose="02000000000000000000" pitchFamily="2" charset="0"/>
                  </a:rPr>
                  <a:t>Business Unit or Business Capability</a:t>
                </a:r>
              </a:p>
            </p:txBody>
          </p:sp>
          <p:sp>
            <p:nvSpPr>
              <p:cNvPr id="18" name="Rectangle 10"/>
              <p:cNvSpPr>
                <a:spLocks/>
              </p:cNvSpPr>
              <p:nvPr/>
            </p:nvSpPr>
            <p:spPr>
              <a:xfrm rot="10800000" flipV="1">
                <a:off x="6218803" y="1032753"/>
                <a:ext cx="1141350" cy="356876"/>
              </a:xfrm>
              <a:prstGeom prst="rect">
                <a:avLst/>
              </a:prstGeom>
              <a:solidFill>
                <a:schemeClr val="bg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000" dirty="0">
                    <a:solidFill>
                      <a:srgbClr val="000000"/>
                    </a:solidFill>
                    <a:latin typeface="Garamond" panose="02020404030301010803" pitchFamily="18" charset="0"/>
                    <a:ea typeface="Roboto Condensed" panose="02000000000000000000" pitchFamily="2" charset="0"/>
                  </a:rPr>
                  <a:t>Business Unit or Business Capability</a:t>
                </a:r>
              </a:p>
            </p:txBody>
          </p:sp>
          <p:sp>
            <p:nvSpPr>
              <p:cNvPr id="19" name="Rectangle 11"/>
              <p:cNvSpPr>
                <a:spLocks/>
              </p:cNvSpPr>
              <p:nvPr/>
            </p:nvSpPr>
            <p:spPr>
              <a:xfrm rot="10800000" flipV="1">
                <a:off x="2517643" y="1032751"/>
                <a:ext cx="1141350" cy="363726"/>
              </a:xfrm>
              <a:prstGeom prst="rect">
                <a:avLst/>
              </a:prstGeom>
              <a:solidFill>
                <a:schemeClr val="bg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000" dirty="0">
                    <a:solidFill>
                      <a:srgbClr val="000000"/>
                    </a:solidFill>
                    <a:latin typeface="Garamond" panose="02020404030301010803" pitchFamily="18" charset="0"/>
                    <a:ea typeface="Roboto Condensed" panose="02000000000000000000" pitchFamily="2" charset="0"/>
                  </a:rPr>
                  <a:t>Business Unit or Business Capability</a:t>
                </a:r>
              </a:p>
            </p:txBody>
          </p:sp>
          <p:sp>
            <p:nvSpPr>
              <p:cNvPr id="20" name="Rectangle 12"/>
              <p:cNvSpPr>
                <a:spLocks/>
              </p:cNvSpPr>
              <p:nvPr/>
            </p:nvSpPr>
            <p:spPr>
              <a:xfrm rot="10800000" flipV="1">
                <a:off x="7452524" y="1032753"/>
                <a:ext cx="1141350" cy="356876"/>
              </a:xfrm>
              <a:prstGeom prst="rect">
                <a:avLst/>
              </a:prstGeom>
              <a:solidFill>
                <a:schemeClr val="bg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000" dirty="0">
                    <a:solidFill>
                      <a:srgbClr val="000000"/>
                    </a:solidFill>
                    <a:latin typeface="Garamond" panose="02020404030301010803" pitchFamily="18" charset="0"/>
                    <a:ea typeface="Roboto Condensed" panose="02000000000000000000" pitchFamily="2" charset="0"/>
                  </a:rPr>
                  <a:t>Business Unit or Business Capability</a:t>
                </a:r>
              </a:p>
            </p:txBody>
          </p:sp>
        </p:grpSp>
        <p:sp>
          <p:nvSpPr>
            <p:cNvPr id="21" name="Rectangle 20"/>
            <p:cNvSpPr/>
            <p:nvPr/>
          </p:nvSpPr>
          <p:spPr>
            <a:xfrm>
              <a:off x="326159" y="1024041"/>
              <a:ext cx="2191482" cy="408487"/>
            </a:xfrm>
            <a:prstGeom prst="rect">
              <a:avLst/>
            </a:prstGeom>
          </p:spPr>
          <p:txBody>
            <a:bodyPr wrap="square">
              <a:spAutoFit/>
            </a:bodyPr>
            <a:lstStyle/>
            <a:p>
              <a:r>
                <a:rPr lang="en-US" sz="1050" dirty="0">
                  <a:solidFill>
                    <a:srgbClr val="353C45"/>
                  </a:solidFill>
                  <a:latin typeface="Garamond" panose="02020404030301010803" pitchFamily="18" charset="0"/>
                  <a:ea typeface="Roboto Condensed" panose="02000000000000000000" pitchFamily="2" charset="0"/>
                  <a:cs typeface="Times New Roman" panose="02020603050405020304" pitchFamily="18" charset="0"/>
                </a:rPr>
                <a:t>Describe the consumers of the technology supported by IT spend</a:t>
              </a:r>
              <a:endParaRPr lang="en-US" sz="1600" dirty="0">
                <a:solidFill>
                  <a:srgbClr val="353C45"/>
                </a:solidFill>
                <a:latin typeface="Garamond" panose="02020404030301010803" pitchFamily="18" charset="0"/>
                <a:ea typeface="Roboto Condensed" panose="02000000000000000000" pitchFamily="2" charset="0"/>
              </a:endParaRPr>
            </a:p>
          </p:txBody>
        </p:sp>
      </p:grpSp>
      <p:grpSp>
        <p:nvGrpSpPr>
          <p:cNvPr id="84" name="Group 83"/>
          <p:cNvGrpSpPr/>
          <p:nvPr/>
        </p:nvGrpSpPr>
        <p:grpSpPr>
          <a:xfrm>
            <a:off x="267564" y="1590398"/>
            <a:ext cx="8510812" cy="1069292"/>
            <a:chOff x="267564" y="1590628"/>
            <a:chExt cx="8510812" cy="1069292"/>
          </a:xfrm>
        </p:grpSpPr>
        <p:sp>
          <p:nvSpPr>
            <p:cNvPr id="22" name="Rectangle 21"/>
            <p:cNvSpPr/>
            <p:nvPr/>
          </p:nvSpPr>
          <p:spPr>
            <a:xfrm>
              <a:off x="267564" y="1590628"/>
              <a:ext cx="8510812" cy="1069292"/>
            </a:xfrm>
            <a:prstGeom prst="rect">
              <a:avLst/>
            </a:prstGeom>
            <a:solidFill>
              <a:schemeClr val="accent1">
                <a:lumMod val="60000"/>
                <a:lumOff val="40000"/>
              </a:schemeClr>
            </a:solidFill>
            <a:ln w="762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t"/>
            <a:lstStyle/>
            <a:p>
              <a:r>
                <a:rPr lang="en-US" sz="1200" b="1" dirty="0">
                  <a:solidFill>
                    <a:srgbClr val="000000"/>
                  </a:solidFill>
                  <a:latin typeface="Garamond" panose="02020404030301010803" pitchFamily="18" charset="0"/>
                  <a:ea typeface="Roboto Condensed" panose="02000000000000000000" pitchFamily="2" charset="0"/>
                </a:rPr>
                <a:t>Services</a:t>
              </a:r>
            </a:p>
          </p:txBody>
        </p:sp>
        <p:sp>
          <p:nvSpPr>
            <p:cNvPr id="35" name="Rectangle 34"/>
            <p:cNvSpPr/>
            <p:nvPr/>
          </p:nvSpPr>
          <p:spPr>
            <a:xfrm>
              <a:off x="326159" y="1787787"/>
              <a:ext cx="2191481" cy="567343"/>
            </a:xfrm>
            <a:prstGeom prst="rect">
              <a:avLst/>
            </a:prstGeom>
          </p:spPr>
          <p:txBody>
            <a:bodyPr wrap="square">
              <a:spAutoFit/>
            </a:bodyPr>
            <a:lstStyle/>
            <a:p>
              <a:r>
                <a:rPr lang="en-US" sz="1050" dirty="0">
                  <a:solidFill>
                    <a:srgbClr val="353C45"/>
                  </a:solidFill>
                  <a:latin typeface="Garamond" panose="02020404030301010803" pitchFamily="18" charset="0"/>
                  <a:ea typeface="Roboto Condensed" panose="02000000000000000000" pitchFamily="2" charset="0"/>
                  <a:cs typeface="Times New Roman" panose="02020603050405020304" pitchFamily="18" charset="0"/>
                </a:rPr>
                <a:t>Describe the products or output delivered by IT and consumed by business units</a:t>
              </a:r>
              <a:endParaRPr lang="en-US" sz="1600" dirty="0">
                <a:solidFill>
                  <a:srgbClr val="353C45"/>
                </a:solidFill>
                <a:latin typeface="Garamond" panose="02020404030301010803" pitchFamily="18" charset="0"/>
                <a:ea typeface="Roboto Condensed" panose="02000000000000000000" pitchFamily="2" charset="0"/>
              </a:endParaRPr>
            </a:p>
          </p:txBody>
        </p:sp>
        <p:grpSp>
          <p:nvGrpSpPr>
            <p:cNvPr id="76" name="Group 75"/>
            <p:cNvGrpSpPr/>
            <p:nvPr/>
          </p:nvGrpSpPr>
          <p:grpSpPr>
            <a:xfrm>
              <a:off x="2517643" y="1659721"/>
              <a:ext cx="6138426" cy="931107"/>
              <a:chOff x="2059677" y="1725546"/>
              <a:chExt cx="6559973" cy="772632"/>
            </a:xfrm>
          </p:grpSpPr>
          <p:sp>
            <p:nvSpPr>
              <p:cNvPr id="70" name="Rectangle 155"/>
              <p:cNvSpPr>
                <a:spLocks/>
              </p:cNvSpPr>
              <p:nvPr/>
            </p:nvSpPr>
            <p:spPr>
              <a:xfrm rot="10800000" flipV="1">
                <a:off x="2059677" y="2140119"/>
                <a:ext cx="1828800" cy="358058"/>
              </a:xfrm>
              <a:prstGeom prst="rect">
                <a:avLst/>
              </a:prstGeom>
              <a:solidFill>
                <a:schemeClr val="bg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000" dirty="0">
                    <a:solidFill>
                      <a:srgbClr val="000000"/>
                    </a:solidFill>
                    <a:latin typeface="Garamond" panose="02020404030301010803" pitchFamily="18" charset="0"/>
                    <a:ea typeface="Roboto Condensed" panose="02000000000000000000" pitchFamily="2" charset="0"/>
                  </a:rPr>
                  <a:t>Delivery Services</a:t>
                </a:r>
              </a:p>
            </p:txBody>
          </p:sp>
          <p:sp>
            <p:nvSpPr>
              <p:cNvPr id="71" name="Rectangle 133"/>
              <p:cNvSpPr>
                <a:spLocks/>
              </p:cNvSpPr>
              <p:nvPr/>
            </p:nvSpPr>
            <p:spPr>
              <a:xfrm rot="10800000" flipV="1">
                <a:off x="3955529" y="2140119"/>
                <a:ext cx="1828800" cy="358058"/>
              </a:xfrm>
              <a:prstGeom prst="rect">
                <a:avLst/>
              </a:prstGeom>
              <a:solidFill>
                <a:schemeClr val="bg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000" dirty="0">
                    <a:solidFill>
                      <a:srgbClr val="000000"/>
                    </a:solidFill>
                    <a:latin typeface="Garamond" panose="02020404030301010803" pitchFamily="18" charset="0"/>
                    <a:ea typeface="Roboto Condensed" panose="02000000000000000000" pitchFamily="2" charset="0"/>
                  </a:rPr>
                  <a:t>Platform Services</a:t>
                </a:r>
              </a:p>
            </p:txBody>
          </p:sp>
          <p:sp>
            <p:nvSpPr>
              <p:cNvPr id="72" name="Rectangle 382"/>
              <p:cNvSpPr>
                <a:spLocks/>
              </p:cNvSpPr>
              <p:nvPr/>
            </p:nvSpPr>
            <p:spPr>
              <a:xfrm rot="10800000" flipV="1">
                <a:off x="5851381" y="2140120"/>
                <a:ext cx="1828800" cy="358058"/>
              </a:xfrm>
              <a:prstGeom prst="rect">
                <a:avLst/>
              </a:prstGeom>
              <a:solidFill>
                <a:schemeClr val="bg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000" dirty="0">
                    <a:solidFill>
                      <a:srgbClr val="000000"/>
                    </a:solidFill>
                    <a:latin typeface="Garamond" panose="02020404030301010803" pitchFamily="18" charset="0"/>
                    <a:ea typeface="Roboto Condensed" panose="02000000000000000000" pitchFamily="2" charset="0"/>
                  </a:rPr>
                  <a:t>Infrastructure Services</a:t>
                </a:r>
              </a:p>
            </p:txBody>
          </p:sp>
          <p:sp>
            <p:nvSpPr>
              <p:cNvPr id="73" name="Rectangle 112"/>
              <p:cNvSpPr>
                <a:spLocks/>
              </p:cNvSpPr>
              <p:nvPr/>
            </p:nvSpPr>
            <p:spPr>
              <a:xfrm rot="10800000" flipV="1">
                <a:off x="3955528" y="1725546"/>
                <a:ext cx="4664122" cy="358058"/>
              </a:xfrm>
              <a:prstGeom prst="rect">
                <a:avLst/>
              </a:prstGeom>
              <a:solidFill>
                <a:schemeClr val="bg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000" dirty="0">
                    <a:solidFill>
                      <a:srgbClr val="000000"/>
                    </a:solidFill>
                    <a:latin typeface="Garamond" panose="02020404030301010803" pitchFamily="18" charset="0"/>
                    <a:ea typeface="Roboto Condensed" panose="02000000000000000000" pitchFamily="2" charset="0"/>
                  </a:rPr>
                  <a:t>Business Application Services</a:t>
                </a:r>
              </a:p>
            </p:txBody>
          </p:sp>
          <p:sp>
            <p:nvSpPr>
              <p:cNvPr id="74" name="Rectangle 353"/>
              <p:cNvSpPr>
                <a:spLocks/>
              </p:cNvSpPr>
              <p:nvPr/>
            </p:nvSpPr>
            <p:spPr>
              <a:xfrm rot="10800000" flipV="1">
                <a:off x="2059677" y="1725546"/>
                <a:ext cx="1828800" cy="358058"/>
              </a:xfrm>
              <a:prstGeom prst="rect">
                <a:avLst/>
              </a:prstGeom>
              <a:solidFill>
                <a:schemeClr val="bg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000" dirty="0">
                    <a:solidFill>
                      <a:srgbClr val="000000"/>
                    </a:solidFill>
                    <a:latin typeface="Garamond" panose="02020404030301010803" pitchFamily="18" charset="0"/>
                    <a:ea typeface="Roboto Condensed" panose="02000000000000000000" pitchFamily="2" charset="0"/>
                  </a:rPr>
                  <a:t>End User Services</a:t>
                </a:r>
              </a:p>
            </p:txBody>
          </p:sp>
          <p:sp>
            <p:nvSpPr>
              <p:cNvPr id="75" name="Rectangle 382"/>
              <p:cNvSpPr>
                <a:spLocks/>
              </p:cNvSpPr>
              <p:nvPr/>
            </p:nvSpPr>
            <p:spPr>
              <a:xfrm rot="10800000" flipV="1">
                <a:off x="7747234" y="2140120"/>
                <a:ext cx="872414" cy="358058"/>
              </a:xfrm>
              <a:prstGeom prst="rect">
                <a:avLst/>
              </a:prstGeom>
              <a:solidFill>
                <a:schemeClr val="bg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000" dirty="0">
                    <a:solidFill>
                      <a:srgbClr val="000000"/>
                    </a:solidFill>
                    <a:latin typeface="Garamond" panose="02020404030301010803" pitchFamily="18" charset="0"/>
                    <a:ea typeface="Roboto Condensed" panose="02000000000000000000" pitchFamily="2" charset="0"/>
                  </a:rPr>
                  <a:t>Emerging</a:t>
                </a:r>
              </a:p>
            </p:txBody>
          </p:sp>
        </p:grpSp>
      </p:grpSp>
      <p:grpSp>
        <p:nvGrpSpPr>
          <p:cNvPr id="86" name="Group 85"/>
          <p:cNvGrpSpPr/>
          <p:nvPr/>
        </p:nvGrpSpPr>
        <p:grpSpPr>
          <a:xfrm>
            <a:off x="267509" y="3809219"/>
            <a:ext cx="8511036" cy="799281"/>
            <a:chOff x="267509" y="3809219"/>
            <a:chExt cx="8511036" cy="799281"/>
          </a:xfrm>
        </p:grpSpPr>
        <p:sp>
          <p:nvSpPr>
            <p:cNvPr id="58" name="Rectangle 419"/>
            <p:cNvSpPr/>
            <p:nvPr/>
          </p:nvSpPr>
          <p:spPr>
            <a:xfrm>
              <a:off x="267509" y="3809219"/>
              <a:ext cx="8511036" cy="799281"/>
            </a:xfrm>
            <a:prstGeom prst="rect">
              <a:avLst/>
            </a:prstGeom>
            <a:solidFill>
              <a:schemeClr val="accent4"/>
            </a:solidFill>
            <a:ln w="762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t"/>
            <a:lstStyle/>
            <a:p>
              <a:r>
                <a:rPr lang="en-US" sz="1200" b="1" dirty="0">
                  <a:solidFill>
                    <a:schemeClr val="bg1"/>
                  </a:solidFill>
                  <a:latin typeface="Garamond" panose="02020404030301010803" pitchFamily="18" charset="0"/>
                  <a:ea typeface="Roboto Condensed" panose="02000000000000000000" pitchFamily="2" charset="0"/>
                </a:rPr>
                <a:t>Cost Pools</a:t>
              </a:r>
            </a:p>
          </p:txBody>
        </p:sp>
        <p:sp>
          <p:nvSpPr>
            <p:cNvPr id="60" name="Rectangle 59"/>
            <p:cNvSpPr/>
            <p:nvPr/>
          </p:nvSpPr>
          <p:spPr>
            <a:xfrm>
              <a:off x="326161" y="4004163"/>
              <a:ext cx="2191482" cy="567343"/>
            </a:xfrm>
            <a:prstGeom prst="rect">
              <a:avLst/>
            </a:prstGeom>
          </p:spPr>
          <p:txBody>
            <a:bodyPr wrap="square">
              <a:spAutoFit/>
            </a:bodyPr>
            <a:lstStyle/>
            <a:p>
              <a:r>
                <a:rPr lang="en-US" sz="1050" dirty="0">
                  <a:solidFill>
                    <a:schemeClr val="bg1"/>
                  </a:solidFill>
                  <a:latin typeface="Garamond" panose="02020404030301010803" pitchFamily="18" charset="0"/>
                  <a:ea typeface="Roboto Condensed" panose="02000000000000000000" pitchFamily="2" charset="0"/>
                  <a:cs typeface="Times New Roman" panose="02020603050405020304" pitchFamily="18" charset="0"/>
                </a:rPr>
                <a:t>Describe the </a:t>
              </a:r>
              <a:r>
                <a:rPr lang="en-US" sz="1050" i="1" dirty="0">
                  <a:solidFill>
                    <a:schemeClr val="bg1"/>
                  </a:solidFill>
                  <a:latin typeface="Garamond" panose="02020404030301010803" pitchFamily="18" charset="0"/>
                  <a:ea typeface="Roboto Condensed" panose="02000000000000000000" pitchFamily="2" charset="0"/>
                  <a:cs typeface="Times New Roman" panose="02020603050405020304" pitchFamily="18" charset="0"/>
                </a:rPr>
                <a:t>type</a:t>
              </a:r>
              <a:r>
                <a:rPr lang="en-US" sz="1050" dirty="0">
                  <a:solidFill>
                    <a:schemeClr val="bg1"/>
                  </a:solidFill>
                  <a:latin typeface="Garamond" panose="02020404030301010803" pitchFamily="18" charset="0"/>
                  <a:ea typeface="Roboto Condensed" panose="02000000000000000000" pitchFamily="2" charset="0"/>
                  <a:cs typeface="Times New Roman" panose="02020603050405020304" pitchFamily="18" charset="0"/>
                </a:rPr>
                <a:t> of asset or service purchased using terms and groupings relevant to both IT and Finance</a:t>
              </a:r>
              <a:endParaRPr lang="en-US" sz="1600" dirty="0">
                <a:solidFill>
                  <a:schemeClr val="bg1"/>
                </a:solidFill>
                <a:latin typeface="Garamond" panose="02020404030301010803" pitchFamily="18" charset="0"/>
                <a:ea typeface="Roboto Condensed" panose="02000000000000000000" pitchFamily="2" charset="0"/>
              </a:endParaRPr>
            </a:p>
          </p:txBody>
        </p:sp>
        <p:grpSp>
          <p:nvGrpSpPr>
            <p:cNvPr id="79" name="Group 78"/>
            <p:cNvGrpSpPr/>
            <p:nvPr/>
          </p:nvGrpSpPr>
          <p:grpSpPr>
            <a:xfrm>
              <a:off x="2517640" y="3922506"/>
              <a:ext cx="6132962" cy="536380"/>
              <a:chOff x="2517640" y="3922506"/>
              <a:chExt cx="6132962" cy="536380"/>
            </a:xfrm>
          </p:grpSpPr>
          <p:sp>
            <p:nvSpPr>
              <p:cNvPr id="61" name="Rectangle 459"/>
              <p:cNvSpPr>
                <a:spLocks/>
              </p:cNvSpPr>
              <p:nvPr/>
            </p:nvSpPr>
            <p:spPr>
              <a:xfrm rot="10800000" flipV="1">
                <a:off x="7323910" y="3922506"/>
                <a:ext cx="640080" cy="536379"/>
              </a:xfrm>
              <a:prstGeom prst="rect">
                <a:avLst/>
              </a:prstGeom>
              <a:solidFill>
                <a:schemeClr val="bg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000" dirty="0">
                    <a:solidFill>
                      <a:srgbClr val="000000"/>
                    </a:solidFill>
                    <a:latin typeface="Garamond" panose="02020404030301010803" pitchFamily="18" charset="0"/>
                    <a:ea typeface="Roboto Condensed" panose="02000000000000000000" pitchFamily="2" charset="0"/>
                  </a:rPr>
                  <a:t>Other</a:t>
                </a:r>
              </a:p>
            </p:txBody>
          </p:sp>
          <p:sp>
            <p:nvSpPr>
              <p:cNvPr id="62" name="Rectangle 456"/>
              <p:cNvSpPr>
                <a:spLocks/>
              </p:cNvSpPr>
              <p:nvPr/>
            </p:nvSpPr>
            <p:spPr>
              <a:xfrm rot="10800000" flipV="1">
                <a:off x="6637300" y="3922506"/>
                <a:ext cx="640080" cy="536379"/>
              </a:xfrm>
              <a:prstGeom prst="rect">
                <a:avLst/>
              </a:prstGeom>
              <a:solidFill>
                <a:schemeClr val="bg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000" dirty="0">
                    <a:solidFill>
                      <a:srgbClr val="000000"/>
                    </a:solidFill>
                    <a:latin typeface="Garamond" panose="02020404030301010803" pitchFamily="18" charset="0"/>
                    <a:ea typeface="Roboto Condensed" panose="02000000000000000000" pitchFamily="2" charset="0"/>
                  </a:rPr>
                  <a:t>Telecom</a:t>
                </a:r>
              </a:p>
            </p:txBody>
          </p:sp>
          <p:sp>
            <p:nvSpPr>
              <p:cNvPr id="63" name="Rectangle 453"/>
              <p:cNvSpPr>
                <a:spLocks/>
              </p:cNvSpPr>
              <p:nvPr/>
            </p:nvSpPr>
            <p:spPr>
              <a:xfrm rot="10800000" flipV="1">
                <a:off x="5950690" y="3922506"/>
                <a:ext cx="640080" cy="536379"/>
              </a:xfrm>
              <a:prstGeom prst="rect">
                <a:avLst/>
              </a:prstGeom>
              <a:solidFill>
                <a:schemeClr val="bg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000" dirty="0">
                    <a:solidFill>
                      <a:srgbClr val="000000"/>
                    </a:solidFill>
                    <a:latin typeface="Garamond" panose="02020404030301010803" pitchFamily="18" charset="0"/>
                    <a:ea typeface="Roboto Condensed" panose="02000000000000000000" pitchFamily="2" charset="0"/>
                  </a:rPr>
                  <a:t>Facilities</a:t>
                </a:r>
                <a:br>
                  <a:rPr lang="en-US" sz="1000" dirty="0">
                    <a:solidFill>
                      <a:srgbClr val="000000"/>
                    </a:solidFill>
                    <a:latin typeface="Garamond" panose="02020404030301010803" pitchFamily="18" charset="0"/>
                    <a:ea typeface="Roboto Condensed" panose="02000000000000000000" pitchFamily="2" charset="0"/>
                  </a:rPr>
                </a:br>
                <a:r>
                  <a:rPr lang="en-US" sz="1000" dirty="0">
                    <a:solidFill>
                      <a:srgbClr val="000000"/>
                    </a:solidFill>
                    <a:latin typeface="Garamond" panose="02020404030301010803" pitchFamily="18" charset="0"/>
                    <a:ea typeface="Roboto Condensed" panose="02000000000000000000" pitchFamily="2" charset="0"/>
                  </a:rPr>
                  <a:t>&amp; Power</a:t>
                </a:r>
              </a:p>
            </p:txBody>
          </p:sp>
          <p:sp>
            <p:nvSpPr>
              <p:cNvPr id="64" name="Rectangle 450"/>
              <p:cNvSpPr>
                <a:spLocks/>
              </p:cNvSpPr>
              <p:nvPr/>
            </p:nvSpPr>
            <p:spPr>
              <a:xfrm rot="10800000" flipV="1">
                <a:off x="3890860" y="3922507"/>
                <a:ext cx="640080" cy="536379"/>
              </a:xfrm>
              <a:prstGeom prst="rect">
                <a:avLst/>
              </a:prstGeom>
              <a:solidFill>
                <a:schemeClr val="bg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000" dirty="0">
                    <a:solidFill>
                      <a:srgbClr val="000000"/>
                    </a:solidFill>
                    <a:latin typeface="Garamond" panose="02020404030301010803" pitchFamily="18" charset="0"/>
                    <a:ea typeface="Roboto Condensed" panose="02000000000000000000" pitchFamily="2" charset="0"/>
                  </a:rPr>
                  <a:t>Outside Services</a:t>
                </a:r>
              </a:p>
            </p:txBody>
          </p:sp>
          <p:sp>
            <p:nvSpPr>
              <p:cNvPr id="65" name="Rectangle 447"/>
              <p:cNvSpPr>
                <a:spLocks/>
              </p:cNvSpPr>
              <p:nvPr/>
            </p:nvSpPr>
            <p:spPr>
              <a:xfrm rot="10800000" flipV="1">
                <a:off x="5264080" y="3922506"/>
                <a:ext cx="640080" cy="536379"/>
              </a:xfrm>
              <a:prstGeom prst="rect">
                <a:avLst/>
              </a:prstGeom>
              <a:solidFill>
                <a:schemeClr val="bg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000" dirty="0">
                    <a:solidFill>
                      <a:srgbClr val="000000"/>
                    </a:solidFill>
                    <a:latin typeface="Garamond" panose="02020404030301010803" pitchFamily="18" charset="0"/>
                    <a:ea typeface="Roboto Condensed" panose="02000000000000000000" pitchFamily="2" charset="0"/>
                  </a:rPr>
                  <a:t>Software</a:t>
                </a:r>
              </a:p>
            </p:txBody>
          </p:sp>
          <p:sp>
            <p:nvSpPr>
              <p:cNvPr id="66" name="Rectangle 444"/>
              <p:cNvSpPr>
                <a:spLocks/>
              </p:cNvSpPr>
              <p:nvPr/>
            </p:nvSpPr>
            <p:spPr>
              <a:xfrm rot="10800000" flipV="1">
                <a:off x="2517640" y="3922507"/>
                <a:ext cx="640080" cy="536379"/>
              </a:xfrm>
              <a:prstGeom prst="rect">
                <a:avLst/>
              </a:prstGeom>
              <a:solidFill>
                <a:schemeClr val="bg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000" dirty="0">
                    <a:solidFill>
                      <a:srgbClr val="000000"/>
                    </a:solidFill>
                    <a:latin typeface="Garamond" panose="02020404030301010803" pitchFamily="18" charset="0"/>
                    <a:ea typeface="Roboto Condensed" panose="02000000000000000000" pitchFamily="2" charset="0"/>
                  </a:rPr>
                  <a:t>Internal Labor</a:t>
                </a:r>
              </a:p>
            </p:txBody>
          </p:sp>
          <p:sp>
            <p:nvSpPr>
              <p:cNvPr id="67" name="Rectangle 441"/>
              <p:cNvSpPr>
                <a:spLocks/>
              </p:cNvSpPr>
              <p:nvPr/>
            </p:nvSpPr>
            <p:spPr>
              <a:xfrm rot="10800000" flipV="1">
                <a:off x="4577470" y="3922507"/>
                <a:ext cx="640080" cy="536379"/>
              </a:xfrm>
              <a:prstGeom prst="rect">
                <a:avLst/>
              </a:prstGeom>
              <a:solidFill>
                <a:schemeClr val="bg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000" dirty="0">
                    <a:solidFill>
                      <a:srgbClr val="000000"/>
                    </a:solidFill>
                    <a:latin typeface="Garamond" panose="02020404030301010803" pitchFamily="18" charset="0"/>
                    <a:ea typeface="Roboto Condensed" panose="02000000000000000000" pitchFamily="2" charset="0"/>
                  </a:rPr>
                  <a:t>Hardware</a:t>
                </a:r>
              </a:p>
            </p:txBody>
          </p:sp>
          <p:sp>
            <p:nvSpPr>
              <p:cNvPr id="68" name="Rectangle 438"/>
              <p:cNvSpPr>
                <a:spLocks/>
              </p:cNvSpPr>
              <p:nvPr/>
            </p:nvSpPr>
            <p:spPr>
              <a:xfrm rot="10800000" flipV="1">
                <a:off x="3204250" y="3922507"/>
                <a:ext cx="640080" cy="536379"/>
              </a:xfrm>
              <a:prstGeom prst="rect">
                <a:avLst/>
              </a:prstGeom>
              <a:solidFill>
                <a:schemeClr val="bg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000" dirty="0">
                    <a:solidFill>
                      <a:srgbClr val="000000"/>
                    </a:solidFill>
                    <a:latin typeface="Garamond" panose="02020404030301010803" pitchFamily="18" charset="0"/>
                    <a:ea typeface="Roboto Condensed" panose="02000000000000000000" pitchFamily="2" charset="0"/>
                  </a:rPr>
                  <a:t>External Labor</a:t>
                </a:r>
              </a:p>
            </p:txBody>
          </p:sp>
          <p:sp>
            <p:nvSpPr>
              <p:cNvPr id="78" name="Rectangle 459"/>
              <p:cNvSpPr>
                <a:spLocks/>
              </p:cNvSpPr>
              <p:nvPr/>
            </p:nvSpPr>
            <p:spPr>
              <a:xfrm rot="10800000" flipV="1">
                <a:off x="8010522" y="3922506"/>
                <a:ext cx="640080" cy="536379"/>
              </a:xfrm>
              <a:prstGeom prst="rect">
                <a:avLst/>
              </a:prstGeom>
              <a:solidFill>
                <a:schemeClr val="bg1"/>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lang="en-US" sz="1000" dirty="0">
                    <a:solidFill>
                      <a:srgbClr val="000000"/>
                    </a:solidFill>
                    <a:latin typeface="Garamond" panose="02020404030301010803" pitchFamily="18" charset="0"/>
                    <a:ea typeface="Roboto Condensed" panose="02000000000000000000" pitchFamily="2" charset="0"/>
                  </a:rPr>
                  <a:t>Internal</a:t>
                </a:r>
                <a:br>
                  <a:rPr lang="en-US" sz="1000" dirty="0">
                    <a:solidFill>
                      <a:srgbClr val="000000"/>
                    </a:solidFill>
                    <a:latin typeface="Garamond" panose="02020404030301010803" pitchFamily="18" charset="0"/>
                    <a:ea typeface="Roboto Condensed" panose="02000000000000000000" pitchFamily="2" charset="0"/>
                  </a:rPr>
                </a:br>
                <a:r>
                  <a:rPr lang="en-US" sz="1000" dirty="0">
                    <a:solidFill>
                      <a:srgbClr val="000000"/>
                    </a:solidFill>
                    <a:latin typeface="Garamond" panose="02020404030301010803" pitchFamily="18" charset="0"/>
                    <a:ea typeface="Roboto Condensed" panose="02000000000000000000" pitchFamily="2" charset="0"/>
                  </a:rPr>
                  <a:t>Services</a:t>
                </a:r>
              </a:p>
            </p:txBody>
          </p:sp>
        </p:grpSp>
      </p:grpSp>
      <p:sp>
        <p:nvSpPr>
          <p:cNvPr id="2" name="Title 1"/>
          <p:cNvSpPr>
            <a:spLocks noGrp="1"/>
          </p:cNvSpPr>
          <p:nvPr>
            <p:ph type="title"/>
          </p:nvPr>
        </p:nvSpPr>
        <p:spPr/>
        <p:txBody>
          <a:bodyPr/>
          <a:lstStyle/>
          <a:p>
            <a:r>
              <a:rPr lang="en-US" dirty="0"/>
              <a:t>Create Transparency</a:t>
            </a:r>
            <a:br>
              <a:rPr lang="en-US" dirty="0"/>
            </a:br>
            <a:r>
              <a:rPr lang="en-US" sz="1600" i="1" dirty="0">
                <a:solidFill>
                  <a:schemeClr val="accent4"/>
                </a:solidFill>
              </a:rPr>
              <a:t>How do you empower tradeoff decisions based on facts?</a:t>
            </a:r>
            <a:endParaRPr lang="en-US" dirty="0">
              <a:solidFill>
                <a:schemeClr val="accent4"/>
              </a:solidFill>
            </a:endParaRPr>
          </a:p>
        </p:txBody>
      </p:sp>
      <p:grpSp>
        <p:nvGrpSpPr>
          <p:cNvPr id="5" name="Group 4"/>
          <p:cNvGrpSpPr/>
          <p:nvPr/>
        </p:nvGrpSpPr>
        <p:grpSpPr>
          <a:xfrm rot="10800000">
            <a:off x="8791189" y="883665"/>
            <a:ext cx="262247" cy="3724834"/>
            <a:chOff x="13222046" y="379909"/>
            <a:chExt cx="382781" cy="5427294"/>
          </a:xfrm>
        </p:grpSpPr>
        <p:cxnSp>
          <p:nvCxnSpPr>
            <p:cNvPr id="6" name="Straight Arrow Connector 5"/>
            <p:cNvCxnSpPr/>
            <p:nvPr/>
          </p:nvCxnSpPr>
          <p:spPr>
            <a:xfrm>
              <a:off x="13604827" y="379909"/>
              <a:ext cx="0" cy="5427294"/>
            </a:xfrm>
            <a:prstGeom prst="straightConnector1">
              <a:avLst/>
            </a:prstGeom>
            <a:ln w="28575">
              <a:solidFill>
                <a:schemeClr val="tx1"/>
              </a:solidFill>
              <a:miter lim="800000"/>
              <a:headEnd type="triangle" w="lg" len="lg"/>
              <a:tailEnd type="triangle" w="lg" len="lg"/>
            </a:ln>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rot="16200000">
              <a:off x="11051265" y="2946119"/>
              <a:ext cx="4723432" cy="381870"/>
              <a:chOff x="3988763" y="-3013717"/>
              <a:chExt cx="5598954" cy="381870"/>
            </a:xfrm>
          </p:grpSpPr>
          <p:sp>
            <p:nvSpPr>
              <p:cNvPr id="8" name="TextBox 7"/>
              <p:cNvSpPr txBox="1"/>
              <p:nvPr/>
            </p:nvSpPr>
            <p:spPr>
              <a:xfrm>
                <a:off x="3988763" y="-3013699"/>
                <a:ext cx="1896139" cy="381852"/>
              </a:xfrm>
              <a:prstGeom prst="rect">
                <a:avLst/>
              </a:prstGeom>
              <a:noFill/>
            </p:spPr>
            <p:txBody>
              <a:bodyPr wrap="none" rtlCol="0">
                <a:spAutoFit/>
              </a:bodyPr>
              <a:lstStyle/>
              <a:p>
                <a:pPr algn="ctr"/>
                <a:r>
                  <a:rPr lang="en-US" sz="1100" b="1" dirty="0">
                    <a:solidFill>
                      <a:srgbClr val="353C45"/>
                    </a:solidFill>
                    <a:latin typeface="Garamond" panose="02020404030301010803" pitchFamily="18" charset="0"/>
                    <a:ea typeface="Roboto Condensed" panose="02000000000000000000" pitchFamily="2" charset="0"/>
                  </a:rPr>
                  <a:t>Business View</a:t>
                </a:r>
              </a:p>
            </p:txBody>
          </p:sp>
          <p:sp>
            <p:nvSpPr>
              <p:cNvPr id="9" name="TextBox 8"/>
              <p:cNvSpPr txBox="1"/>
              <p:nvPr/>
            </p:nvSpPr>
            <p:spPr>
              <a:xfrm>
                <a:off x="7789381" y="-3013717"/>
                <a:ext cx="1798336" cy="381852"/>
              </a:xfrm>
              <a:prstGeom prst="rect">
                <a:avLst/>
              </a:prstGeom>
              <a:noFill/>
            </p:spPr>
            <p:txBody>
              <a:bodyPr wrap="none" rtlCol="0">
                <a:spAutoFit/>
              </a:bodyPr>
              <a:lstStyle/>
              <a:p>
                <a:pPr algn="ctr"/>
                <a:r>
                  <a:rPr lang="en-US" sz="1100" b="1" dirty="0">
                    <a:solidFill>
                      <a:srgbClr val="353C45"/>
                    </a:solidFill>
                    <a:latin typeface="Garamond" panose="02020404030301010803" pitchFamily="18" charset="0"/>
                    <a:ea typeface="Roboto Condensed" panose="02000000000000000000" pitchFamily="2" charset="0"/>
                  </a:rPr>
                  <a:t>Finance View</a:t>
                </a:r>
              </a:p>
            </p:txBody>
          </p:sp>
          <p:sp>
            <p:nvSpPr>
              <p:cNvPr id="10" name="TextBox 9"/>
              <p:cNvSpPr txBox="1"/>
              <p:nvPr/>
            </p:nvSpPr>
            <p:spPr>
              <a:xfrm>
                <a:off x="6192697" y="-3013704"/>
                <a:ext cx="1208672" cy="381852"/>
              </a:xfrm>
              <a:prstGeom prst="rect">
                <a:avLst/>
              </a:prstGeom>
              <a:noFill/>
            </p:spPr>
            <p:txBody>
              <a:bodyPr wrap="none" rtlCol="0">
                <a:spAutoFit/>
              </a:bodyPr>
              <a:lstStyle/>
              <a:p>
                <a:pPr algn="ctr"/>
                <a:r>
                  <a:rPr lang="en-US" sz="1100" b="1" dirty="0">
                    <a:solidFill>
                      <a:srgbClr val="353C45"/>
                    </a:solidFill>
                    <a:latin typeface="Garamond" panose="02020404030301010803" pitchFamily="18" charset="0"/>
                    <a:ea typeface="Roboto Condensed" panose="02000000000000000000" pitchFamily="2" charset="0"/>
                  </a:rPr>
                  <a:t>IT View</a:t>
                </a:r>
              </a:p>
            </p:txBody>
          </p:sp>
        </p:grpSp>
      </p:grpSp>
      <p:pic>
        <p:nvPicPr>
          <p:cNvPr id="3" name="Picture 2"/>
          <p:cNvPicPr>
            <a:picLocks noChangeAspect="1"/>
          </p:cNvPicPr>
          <p:nvPr/>
        </p:nvPicPr>
        <p:blipFill>
          <a:blip r:embed="rId3"/>
          <a:stretch>
            <a:fillRect/>
          </a:stretch>
        </p:blipFill>
        <p:spPr>
          <a:xfrm>
            <a:off x="8138160" y="45720"/>
            <a:ext cx="914400" cy="569121"/>
          </a:xfrm>
          <a:prstGeom prst="rect">
            <a:avLst/>
          </a:prstGeom>
        </p:spPr>
      </p:pic>
      <p:sp>
        <p:nvSpPr>
          <p:cNvPr id="87" name="TextBox 86"/>
          <p:cNvSpPr txBox="1"/>
          <p:nvPr/>
        </p:nvSpPr>
        <p:spPr>
          <a:xfrm>
            <a:off x="267564" y="4608500"/>
            <a:ext cx="8511037" cy="276999"/>
          </a:xfrm>
          <a:prstGeom prst="rect">
            <a:avLst/>
          </a:prstGeom>
          <a:noFill/>
        </p:spPr>
        <p:txBody>
          <a:bodyPr wrap="square" lIns="45720" rIns="45720" rtlCol="0">
            <a:spAutoFit/>
          </a:bodyPr>
          <a:lstStyle/>
          <a:p>
            <a:pPr algn="ctr"/>
            <a:r>
              <a:rPr lang="en-US" sz="1200" i="1" dirty="0">
                <a:latin typeface="+mn-lt"/>
              </a:rPr>
              <a:t>TBM Taxonomy (V2.0) provides standard management categories to support standards-based modeling.</a:t>
            </a:r>
          </a:p>
        </p:txBody>
      </p:sp>
    </p:spTree>
    <p:extLst>
      <p:ext uri="{BB962C8B-B14F-4D97-AF65-F5344CB8AC3E}">
        <p14:creationId xmlns:p14="http://schemas.microsoft.com/office/powerpoint/2010/main" val="4519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About the Data Needed for Modeling?</a:t>
            </a:r>
          </a:p>
        </p:txBody>
      </p:sp>
      <p:grpSp>
        <p:nvGrpSpPr>
          <p:cNvPr id="23" name="Group 22"/>
          <p:cNvGrpSpPr/>
          <p:nvPr/>
        </p:nvGrpSpPr>
        <p:grpSpPr>
          <a:xfrm>
            <a:off x="1340919" y="836656"/>
            <a:ext cx="6462163" cy="4106778"/>
            <a:chOff x="1444939" y="1125358"/>
            <a:chExt cx="7065752" cy="3541232"/>
          </a:xfrm>
        </p:grpSpPr>
        <p:sp>
          <p:nvSpPr>
            <p:cNvPr id="24" name="TextBox 23"/>
            <p:cNvSpPr txBox="1"/>
            <p:nvPr/>
          </p:nvSpPr>
          <p:spPr>
            <a:xfrm>
              <a:off x="4495604" y="4480815"/>
              <a:ext cx="1190874" cy="185775"/>
            </a:xfrm>
            <a:prstGeom prst="rect">
              <a:avLst/>
            </a:prstGeom>
            <a:noFill/>
          </p:spPr>
          <p:txBody>
            <a:bodyPr wrap="none" lIns="0" tIns="0" rIns="0" bIns="0" rtlCol="0">
              <a:spAutoFit/>
            </a:bodyPr>
            <a:lstStyle/>
            <a:p>
              <a:pPr algn="ctr"/>
              <a:r>
                <a:rPr lang="en-US" sz="1400" b="1" dirty="0">
                  <a:latin typeface="Garamond" panose="02020404030301010803" pitchFamily="18" charset="0"/>
                </a:rPr>
                <a:t>Scope of Data</a:t>
              </a:r>
            </a:p>
          </p:txBody>
        </p:sp>
        <p:sp>
          <p:nvSpPr>
            <p:cNvPr id="25" name="TextBox 24"/>
            <p:cNvSpPr txBox="1"/>
            <p:nvPr/>
          </p:nvSpPr>
          <p:spPr>
            <a:xfrm rot="16200000">
              <a:off x="1044074" y="2714836"/>
              <a:ext cx="1037298" cy="235567"/>
            </a:xfrm>
            <a:prstGeom prst="rect">
              <a:avLst/>
            </a:prstGeom>
            <a:noFill/>
          </p:spPr>
          <p:txBody>
            <a:bodyPr wrap="none" lIns="0" tIns="0" rIns="0" bIns="0" rtlCol="0">
              <a:spAutoFit/>
            </a:bodyPr>
            <a:lstStyle/>
            <a:p>
              <a:pPr algn="ctr"/>
              <a:r>
                <a:rPr lang="en-US" sz="1400" b="1" dirty="0">
                  <a:latin typeface="Garamond" panose="02020404030301010803" pitchFamily="18" charset="0"/>
                </a:rPr>
                <a:t>Quality of Data</a:t>
              </a:r>
            </a:p>
          </p:txBody>
        </p:sp>
        <p:grpSp>
          <p:nvGrpSpPr>
            <p:cNvPr id="26" name="Group 25"/>
            <p:cNvGrpSpPr/>
            <p:nvPr/>
          </p:nvGrpSpPr>
          <p:grpSpPr>
            <a:xfrm>
              <a:off x="1671389" y="1125358"/>
              <a:ext cx="6839302" cy="3413697"/>
              <a:chOff x="1671389" y="1125358"/>
              <a:chExt cx="6839302" cy="3413697"/>
            </a:xfrm>
          </p:grpSpPr>
          <p:sp>
            <p:nvSpPr>
              <p:cNvPr id="27" name="Rectangle 26"/>
              <p:cNvSpPr/>
              <p:nvPr/>
            </p:nvSpPr>
            <p:spPr>
              <a:xfrm>
                <a:off x="1933004" y="2177745"/>
                <a:ext cx="1645920" cy="1051560"/>
              </a:xfrm>
              <a:prstGeom prst="rect">
                <a:avLst/>
              </a:prstGeom>
              <a:solidFill>
                <a:schemeClr val="bg1">
                  <a:lumMod val="95000"/>
                </a:schemeClr>
              </a:solidFill>
              <a:ln w="2857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Wingdings" panose="05000000000000000000" pitchFamily="2" charset="2"/>
                  <a:buChar char="§"/>
                </a:pPr>
                <a:r>
                  <a:rPr lang="en-US" sz="1050" dirty="0">
                    <a:solidFill>
                      <a:schemeClr val="tx1"/>
                    </a:solidFill>
                    <a:latin typeface="Garamond" panose="02020404030301010803" pitchFamily="18" charset="0"/>
                  </a:rPr>
                  <a:t>List ERP apps </a:t>
                </a:r>
              </a:p>
              <a:p>
                <a:pPr marL="171450" indent="-171450">
                  <a:buFont typeface="Wingdings" panose="05000000000000000000" pitchFamily="2" charset="2"/>
                  <a:buChar char="§"/>
                </a:pPr>
                <a:r>
                  <a:rPr lang="en-US" sz="1050" dirty="0">
                    <a:solidFill>
                      <a:schemeClr val="tx1"/>
                    </a:solidFill>
                    <a:latin typeface="Garamond" panose="02020404030301010803" pitchFamily="18" charset="0"/>
                  </a:rPr>
                  <a:t>Infrastructure mappings </a:t>
                </a:r>
              </a:p>
              <a:p>
                <a:pPr marL="171450" indent="-171450">
                  <a:buFont typeface="Wingdings" panose="05000000000000000000" pitchFamily="2" charset="2"/>
                  <a:buChar char="§"/>
                </a:pPr>
                <a:r>
                  <a:rPr lang="en-US" sz="1050" dirty="0">
                    <a:solidFill>
                      <a:schemeClr val="tx1"/>
                    </a:solidFill>
                    <a:latin typeface="Garamond" panose="02020404030301010803" pitchFamily="18" charset="0"/>
                  </a:rPr>
                  <a:t>Support personnel with time estimates</a:t>
                </a:r>
              </a:p>
            </p:txBody>
          </p:sp>
          <p:sp>
            <p:nvSpPr>
              <p:cNvPr id="28" name="Rectangle 27"/>
              <p:cNvSpPr/>
              <p:nvPr/>
            </p:nvSpPr>
            <p:spPr>
              <a:xfrm>
                <a:off x="3581551" y="2177745"/>
                <a:ext cx="1645920" cy="1051560"/>
              </a:xfrm>
              <a:prstGeom prst="rect">
                <a:avLst/>
              </a:prstGeom>
              <a:solidFill>
                <a:schemeClr val="bg1">
                  <a:lumMod val="95000"/>
                </a:schemeClr>
              </a:solidFill>
              <a:ln w="2857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Wingdings" panose="05000000000000000000" pitchFamily="2" charset="2"/>
                  <a:buChar char="§"/>
                </a:pPr>
                <a:r>
                  <a:rPr lang="en-US" sz="1050" dirty="0">
                    <a:solidFill>
                      <a:schemeClr val="tx1"/>
                    </a:solidFill>
                    <a:latin typeface="Garamond" panose="02020404030301010803" pitchFamily="18" charset="0"/>
                  </a:rPr>
                  <a:t>Simple app list </a:t>
                </a:r>
              </a:p>
              <a:p>
                <a:pPr marL="171450" indent="-171450">
                  <a:buFont typeface="Wingdings" panose="05000000000000000000" pitchFamily="2" charset="2"/>
                  <a:buChar char="§"/>
                </a:pPr>
                <a:r>
                  <a:rPr lang="en-US" sz="1050" dirty="0">
                    <a:solidFill>
                      <a:schemeClr val="tx1"/>
                    </a:solidFill>
                    <a:latin typeface="Garamond" panose="02020404030301010803" pitchFamily="18" charset="0"/>
                  </a:rPr>
                  <a:t>Server and storage mappings</a:t>
                </a:r>
              </a:p>
              <a:p>
                <a:pPr marL="171450" indent="-171450">
                  <a:buFont typeface="Wingdings" panose="05000000000000000000" pitchFamily="2" charset="2"/>
                  <a:buChar char="§"/>
                </a:pPr>
                <a:r>
                  <a:rPr lang="en-US" sz="1050" dirty="0">
                    <a:solidFill>
                      <a:schemeClr val="tx1"/>
                    </a:solidFill>
                    <a:latin typeface="Garamond" panose="02020404030301010803" pitchFamily="18" charset="0"/>
                  </a:rPr>
                  <a:t>Support personnel with time estimates</a:t>
                </a:r>
              </a:p>
            </p:txBody>
          </p:sp>
          <p:sp>
            <p:nvSpPr>
              <p:cNvPr id="29" name="Rectangle 28"/>
              <p:cNvSpPr/>
              <p:nvPr/>
            </p:nvSpPr>
            <p:spPr>
              <a:xfrm>
                <a:off x="3581551" y="1125358"/>
                <a:ext cx="1645920" cy="1051560"/>
              </a:xfrm>
              <a:prstGeom prst="rect">
                <a:avLst/>
              </a:prstGeom>
              <a:solidFill>
                <a:schemeClr val="bg1">
                  <a:lumMod val="95000"/>
                </a:schemeClr>
              </a:solidFill>
              <a:ln w="2857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Wingdings" panose="05000000000000000000" pitchFamily="2" charset="2"/>
                  <a:buChar char="§"/>
                </a:pPr>
                <a:r>
                  <a:rPr lang="en-US" sz="1050" dirty="0">
                    <a:solidFill>
                      <a:schemeClr val="tx1"/>
                    </a:solidFill>
                    <a:latin typeface="Garamond" panose="02020404030301010803" pitchFamily="18" charset="0"/>
                  </a:rPr>
                  <a:t>Simple app list </a:t>
                </a:r>
              </a:p>
              <a:p>
                <a:pPr marL="171450" indent="-171450">
                  <a:buFont typeface="Wingdings" panose="05000000000000000000" pitchFamily="2" charset="2"/>
                  <a:buChar char="§"/>
                </a:pPr>
                <a:r>
                  <a:rPr lang="en-US" sz="1050" dirty="0">
                    <a:solidFill>
                      <a:schemeClr val="tx1"/>
                    </a:solidFill>
                    <a:latin typeface="Garamond" panose="02020404030301010803" pitchFamily="18" charset="0"/>
                  </a:rPr>
                  <a:t>Server and storage mappings</a:t>
                </a:r>
              </a:p>
              <a:p>
                <a:pPr marL="171450" indent="-171450">
                  <a:buFont typeface="Wingdings" panose="05000000000000000000" pitchFamily="2" charset="2"/>
                  <a:buChar char="§"/>
                </a:pPr>
                <a:r>
                  <a:rPr lang="en-US" sz="1050" dirty="0">
                    <a:solidFill>
                      <a:schemeClr val="tx1"/>
                    </a:solidFill>
                    <a:latin typeface="Garamond" panose="02020404030301010803" pitchFamily="18" charset="0"/>
                  </a:rPr>
                  <a:t>Support time tracking </a:t>
                </a:r>
              </a:p>
              <a:p>
                <a:pPr marL="171450" indent="-171450">
                  <a:buFont typeface="Wingdings" panose="05000000000000000000" pitchFamily="2" charset="2"/>
                  <a:buChar char="§"/>
                </a:pPr>
                <a:r>
                  <a:rPr lang="en-US" sz="1050" dirty="0">
                    <a:solidFill>
                      <a:schemeClr val="tx1"/>
                    </a:solidFill>
                    <a:latin typeface="Garamond" panose="02020404030301010803" pitchFamily="18" charset="0"/>
                  </a:rPr>
                  <a:t>Project data (hours)</a:t>
                </a:r>
              </a:p>
            </p:txBody>
          </p:sp>
          <p:sp>
            <p:nvSpPr>
              <p:cNvPr id="30" name="Rectangle 29"/>
              <p:cNvSpPr/>
              <p:nvPr/>
            </p:nvSpPr>
            <p:spPr>
              <a:xfrm>
                <a:off x="6864771" y="2177745"/>
                <a:ext cx="1645920" cy="1051560"/>
              </a:xfrm>
              <a:prstGeom prst="rect">
                <a:avLst/>
              </a:prstGeom>
              <a:solidFill>
                <a:schemeClr val="bg1">
                  <a:lumMod val="95000"/>
                </a:schemeClr>
              </a:solidFill>
              <a:ln w="2857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Wingdings" panose="05000000000000000000" pitchFamily="2" charset="2"/>
                  <a:buChar char="§"/>
                </a:pPr>
                <a:r>
                  <a:rPr lang="en-US" sz="1050" dirty="0">
                    <a:solidFill>
                      <a:schemeClr val="tx1"/>
                    </a:solidFill>
                    <a:latin typeface="Garamond" panose="02020404030301010803" pitchFamily="18" charset="0"/>
                  </a:rPr>
                  <a:t>Inventory of corporate and BU applications </a:t>
                </a:r>
              </a:p>
              <a:p>
                <a:pPr marL="171450" indent="-171450">
                  <a:buFont typeface="Wingdings" panose="05000000000000000000" pitchFamily="2" charset="2"/>
                  <a:buChar char="§"/>
                </a:pPr>
                <a:r>
                  <a:rPr lang="en-US" sz="1050" dirty="0">
                    <a:solidFill>
                      <a:schemeClr val="tx1"/>
                    </a:solidFill>
                    <a:latin typeface="Garamond" panose="02020404030301010803" pitchFamily="18" charset="0"/>
                  </a:rPr>
                  <a:t>Server counts and storage estimates (%)</a:t>
                </a:r>
              </a:p>
              <a:p>
                <a:pPr marL="171450" indent="-171450">
                  <a:buFont typeface="Wingdings" panose="05000000000000000000" pitchFamily="2" charset="2"/>
                  <a:buChar char="§"/>
                </a:pPr>
                <a:r>
                  <a:rPr lang="en-US" sz="1050" dirty="0">
                    <a:solidFill>
                      <a:schemeClr val="tx1"/>
                    </a:solidFill>
                    <a:latin typeface="Garamond" panose="02020404030301010803" pitchFamily="18" charset="0"/>
                  </a:rPr>
                  <a:t>Support estimates (%)</a:t>
                </a:r>
              </a:p>
            </p:txBody>
          </p:sp>
          <p:sp>
            <p:nvSpPr>
              <p:cNvPr id="31" name="Rectangle 30"/>
              <p:cNvSpPr/>
              <p:nvPr/>
            </p:nvSpPr>
            <p:spPr>
              <a:xfrm>
                <a:off x="3581551" y="3220639"/>
                <a:ext cx="1645920" cy="1051560"/>
              </a:xfrm>
              <a:prstGeom prst="rect">
                <a:avLst/>
              </a:prstGeom>
              <a:solidFill>
                <a:schemeClr val="bg1">
                  <a:lumMod val="95000"/>
                </a:schemeClr>
              </a:solidFill>
              <a:ln w="2857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Wingdings" panose="05000000000000000000" pitchFamily="2" charset="2"/>
                  <a:buChar char="§"/>
                </a:pPr>
                <a:r>
                  <a:rPr lang="en-US" sz="1050" dirty="0">
                    <a:solidFill>
                      <a:schemeClr val="tx1"/>
                    </a:solidFill>
                    <a:latin typeface="Garamond" panose="02020404030301010803" pitchFamily="18" charset="0"/>
                  </a:rPr>
                  <a:t>Simple app list </a:t>
                </a:r>
              </a:p>
              <a:p>
                <a:pPr marL="171450" indent="-171450">
                  <a:buFont typeface="Wingdings" panose="05000000000000000000" pitchFamily="2" charset="2"/>
                  <a:buChar char="§"/>
                </a:pPr>
                <a:r>
                  <a:rPr lang="en-US" sz="1050" dirty="0">
                    <a:solidFill>
                      <a:schemeClr val="tx1"/>
                    </a:solidFill>
                    <a:latin typeface="Garamond" panose="02020404030301010803" pitchFamily="18" charset="0"/>
                  </a:rPr>
                  <a:t>Server counts and storage estimates (%)</a:t>
                </a:r>
              </a:p>
              <a:p>
                <a:pPr marL="171450" indent="-171450">
                  <a:buFont typeface="Wingdings" panose="05000000000000000000" pitchFamily="2" charset="2"/>
                  <a:buChar char="§"/>
                </a:pPr>
                <a:r>
                  <a:rPr lang="en-US" sz="1050" dirty="0">
                    <a:solidFill>
                      <a:schemeClr val="tx1"/>
                    </a:solidFill>
                    <a:latin typeface="Garamond" panose="02020404030301010803" pitchFamily="18" charset="0"/>
                  </a:rPr>
                  <a:t>Support estimates (%)</a:t>
                </a:r>
              </a:p>
            </p:txBody>
          </p:sp>
          <p:sp>
            <p:nvSpPr>
              <p:cNvPr id="32" name="TextBox 31"/>
              <p:cNvSpPr txBox="1"/>
              <p:nvPr/>
            </p:nvSpPr>
            <p:spPr>
              <a:xfrm rot="16200000">
                <a:off x="1576811" y="1520333"/>
                <a:ext cx="450765" cy="261610"/>
              </a:xfrm>
              <a:prstGeom prst="rect">
                <a:avLst/>
              </a:prstGeom>
              <a:noFill/>
            </p:spPr>
            <p:txBody>
              <a:bodyPr wrap="none" rtlCol="0">
                <a:spAutoFit/>
              </a:bodyPr>
              <a:lstStyle/>
              <a:p>
                <a:pPr algn="ctr"/>
                <a:r>
                  <a:rPr lang="en-US" sz="1100" b="1" dirty="0">
                    <a:latin typeface="Garamond" panose="02020404030301010803" pitchFamily="18" charset="0"/>
                  </a:rPr>
                  <a:t>Best</a:t>
                </a:r>
              </a:p>
            </p:txBody>
          </p:sp>
          <p:sp>
            <p:nvSpPr>
              <p:cNvPr id="33" name="TextBox 32"/>
              <p:cNvSpPr txBox="1"/>
              <p:nvPr/>
            </p:nvSpPr>
            <p:spPr>
              <a:xfrm rot="16200000">
                <a:off x="1527121" y="2572721"/>
                <a:ext cx="550152" cy="261610"/>
              </a:xfrm>
              <a:prstGeom prst="rect">
                <a:avLst/>
              </a:prstGeom>
              <a:noFill/>
            </p:spPr>
            <p:txBody>
              <a:bodyPr wrap="none" rtlCol="0">
                <a:spAutoFit/>
              </a:bodyPr>
              <a:lstStyle/>
              <a:p>
                <a:pPr algn="ctr"/>
                <a:r>
                  <a:rPr lang="en-US" sz="1100" b="1" dirty="0">
                    <a:latin typeface="Garamond" panose="02020404030301010803" pitchFamily="18" charset="0"/>
                  </a:rPr>
                  <a:t>Better</a:t>
                </a:r>
              </a:p>
            </p:txBody>
          </p:sp>
          <p:sp>
            <p:nvSpPr>
              <p:cNvPr id="34" name="TextBox 33"/>
              <p:cNvSpPr txBox="1"/>
              <p:nvPr/>
            </p:nvSpPr>
            <p:spPr>
              <a:xfrm rot="16200000">
                <a:off x="1545558" y="3615614"/>
                <a:ext cx="513282" cy="261610"/>
              </a:xfrm>
              <a:prstGeom prst="rect">
                <a:avLst/>
              </a:prstGeom>
              <a:noFill/>
            </p:spPr>
            <p:txBody>
              <a:bodyPr wrap="none" rtlCol="0">
                <a:spAutoFit/>
              </a:bodyPr>
              <a:lstStyle/>
              <a:p>
                <a:pPr algn="ctr"/>
                <a:r>
                  <a:rPr lang="en-US" sz="1100" b="1" dirty="0">
                    <a:latin typeface="Garamond" panose="02020404030301010803" pitchFamily="18" charset="0"/>
                  </a:rPr>
                  <a:t>Good</a:t>
                </a:r>
              </a:p>
            </p:txBody>
          </p:sp>
          <p:sp>
            <p:nvSpPr>
              <p:cNvPr id="35" name="TextBox 34"/>
              <p:cNvSpPr txBox="1"/>
              <p:nvPr/>
            </p:nvSpPr>
            <p:spPr>
              <a:xfrm>
                <a:off x="7116100" y="4277445"/>
                <a:ext cx="1143263" cy="261610"/>
              </a:xfrm>
              <a:prstGeom prst="rect">
                <a:avLst/>
              </a:prstGeom>
              <a:noFill/>
            </p:spPr>
            <p:txBody>
              <a:bodyPr wrap="none" rtlCol="0">
                <a:spAutoFit/>
              </a:bodyPr>
              <a:lstStyle/>
              <a:p>
                <a:pPr algn="ctr"/>
                <a:r>
                  <a:rPr lang="en-US" sz="1100" b="1" dirty="0">
                    <a:latin typeface="Garamond" panose="02020404030301010803" pitchFamily="18" charset="0"/>
                  </a:rPr>
                  <a:t>All Applications</a:t>
                </a:r>
              </a:p>
            </p:txBody>
          </p:sp>
          <p:sp>
            <p:nvSpPr>
              <p:cNvPr id="36" name="TextBox 35"/>
              <p:cNvSpPr txBox="1"/>
              <p:nvPr/>
            </p:nvSpPr>
            <p:spPr>
              <a:xfrm>
                <a:off x="3707846" y="4277445"/>
                <a:ext cx="1393330" cy="261610"/>
              </a:xfrm>
              <a:prstGeom prst="rect">
                <a:avLst/>
              </a:prstGeom>
              <a:noFill/>
            </p:spPr>
            <p:txBody>
              <a:bodyPr wrap="none" rtlCol="0">
                <a:spAutoFit/>
              </a:bodyPr>
              <a:lstStyle/>
              <a:p>
                <a:pPr algn="ctr"/>
                <a:r>
                  <a:rPr lang="en-US" sz="1100" b="1" dirty="0">
                    <a:latin typeface="Garamond" panose="02020404030301010803" pitchFamily="18" charset="0"/>
                  </a:rPr>
                  <a:t>Top 20 Applications</a:t>
                </a:r>
              </a:p>
            </p:txBody>
          </p:sp>
          <p:sp>
            <p:nvSpPr>
              <p:cNvPr id="37" name="TextBox 36"/>
              <p:cNvSpPr txBox="1"/>
              <p:nvPr/>
            </p:nvSpPr>
            <p:spPr>
              <a:xfrm>
                <a:off x="2205974" y="4277445"/>
                <a:ext cx="1099981" cy="261610"/>
              </a:xfrm>
              <a:prstGeom prst="rect">
                <a:avLst/>
              </a:prstGeom>
              <a:noFill/>
            </p:spPr>
            <p:txBody>
              <a:bodyPr wrap="none" rtlCol="0">
                <a:spAutoFit/>
              </a:bodyPr>
              <a:lstStyle/>
              <a:p>
                <a:pPr algn="ctr"/>
                <a:r>
                  <a:rPr lang="en-US" sz="1100" b="1" dirty="0">
                    <a:latin typeface="Garamond" panose="02020404030301010803" pitchFamily="18" charset="0"/>
                  </a:rPr>
                  <a:t>Corporate ERP</a:t>
                </a:r>
              </a:p>
            </p:txBody>
          </p:sp>
          <p:sp>
            <p:nvSpPr>
              <p:cNvPr id="38" name="Rectangle 37"/>
              <p:cNvSpPr/>
              <p:nvPr/>
            </p:nvSpPr>
            <p:spPr>
              <a:xfrm>
                <a:off x="1933004" y="1125358"/>
                <a:ext cx="1645920" cy="1051560"/>
              </a:xfrm>
              <a:prstGeom prst="rect">
                <a:avLst/>
              </a:prstGeom>
              <a:solidFill>
                <a:schemeClr val="bg1">
                  <a:lumMod val="95000"/>
                </a:schemeClr>
              </a:solidFill>
              <a:ln w="2857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Wingdings" panose="05000000000000000000" pitchFamily="2" charset="2"/>
                  <a:buChar char="§"/>
                </a:pPr>
                <a:r>
                  <a:rPr lang="en-US" sz="1050" dirty="0">
                    <a:solidFill>
                      <a:schemeClr val="tx1"/>
                    </a:solidFill>
                    <a:latin typeface="Garamond" panose="02020404030301010803" pitchFamily="18" charset="0"/>
                  </a:rPr>
                  <a:t>List of ERP apps </a:t>
                </a:r>
              </a:p>
              <a:p>
                <a:pPr marL="171450" indent="-171450">
                  <a:buFont typeface="Wingdings" panose="05000000000000000000" pitchFamily="2" charset="2"/>
                  <a:buChar char="§"/>
                </a:pPr>
                <a:r>
                  <a:rPr lang="en-US" sz="1050" dirty="0">
                    <a:solidFill>
                      <a:schemeClr val="tx1"/>
                    </a:solidFill>
                    <a:latin typeface="Garamond" panose="02020404030301010803" pitchFamily="18" charset="0"/>
                  </a:rPr>
                  <a:t>Infra. Mappings</a:t>
                </a:r>
              </a:p>
              <a:p>
                <a:pPr marL="171450" indent="-171450">
                  <a:buFont typeface="Wingdings" panose="05000000000000000000" pitchFamily="2" charset="2"/>
                  <a:buChar char="§"/>
                </a:pPr>
                <a:r>
                  <a:rPr lang="en-US" sz="1050" dirty="0">
                    <a:solidFill>
                      <a:schemeClr val="tx1"/>
                    </a:solidFill>
                    <a:latin typeface="Garamond" panose="02020404030301010803" pitchFamily="18" charset="0"/>
                  </a:rPr>
                  <a:t>Support time tracking</a:t>
                </a:r>
              </a:p>
              <a:p>
                <a:pPr marL="171450" indent="-171450">
                  <a:buFont typeface="Wingdings" panose="05000000000000000000" pitchFamily="2" charset="2"/>
                  <a:buChar char="§"/>
                </a:pPr>
                <a:r>
                  <a:rPr lang="en-US" sz="1050" dirty="0">
                    <a:solidFill>
                      <a:schemeClr val="tx1"/>
                    </a:solidFill>
                    <a:latin typeface="Garamond" panose="02020404030301010803" pitchFamily="18" charset="0"/>
                  </a:rPr>
                  <a:t>Internal project hours, </a:t>
                </a:r>
              </a:p>
              <a:p>
                <a:pPr marL="171450" indent="-171450">
                  <a:buFont typeface="Wingdings" panose="05000000000000000000" pitchFamily="2" charset="2"/>
                  <a:buChar char="§"/>
                </a:pPr>
                <a:r>
                  <a:rPr lang="en-US" sz="1050" dirty="0">
                    <a:solidFill>
                      <a:schemeClr val="tx1"/>
                    </a:solidFill>
                    <a:latin typeface="Garamond" panose="02020404030301010803" pitchFamily="18" charset="0"/>
                  </a:rPr>
                  <a:t>Consultant/ vendor hours</a:t>
                </a:r>
              </a:p>
            </p:txBody>
          </p:sp>
          <p:sp>
            <p:nvSpPr>
              <p:cNvPr id="39" name="Rectangle 38"/>
              <p:cNvSpPr/>
              <p:nvPr/>
            </p:nvSpPr>
            <p:spPr>
              <a:xfrm>
                <a:off x="6864771" y="1125358"/>
                <a:ext cx="1645920" cy="1051560"/>
              </a:xfrm>
              <a:prstGeom prst="rect">
                <a:avLst/>
              </a:prstGeom>
              <a:solidFill>
                <a:schemeClr val="bg1">
                  <a:lumMod val="95000"/>
                </a:schemeClr>
              </a:solidFill>
              <a:ln w="2857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Wingdings" panose="05000000000000000000" pitchFamily="2" charset="2"/>
                  <a:buChar char="§"/>
                </a:pPr>
                <a:r>
                  <a:rPr lang="en-US" sz="1050" dirty="0">
                    <a:solidFill>
                      <a:schemeClr val="tx1"/>
                    </a:solidFill>
                    <a:latin typeface="Garamond" panose="02020404030301010803" pitchFamily="18" charset="0"/>
                  </a:rPr>
                  <a:t>Inventory of corporate, BU and cloud apps </a:t>
                </a:r>
              </a:p>
              <a:p>
                <a:pPr marL="171450" indent="-171450">
                  <a:buFont typeface="Wingdings" panose="05000000000000000000" pitchFamily="2" charset="2"/>
                  <a:buChar char="§"/>
                </a:pPr>
                <a:r>
                  <a:rPr lang="en-US" sz="1050" dirty="0">
                    <a:solidFill>
                      <a:schemeClr val="tx1"/>
                    </a:solidFill>
                    <a:latin typeface="Garamond" panose="02020404030301010803" pitchFamily="18" charset="0"/>
                  </a:rPr>
                  <a:t>Infra mappings, including public cloud</a:t>
                </a:r>
              </a:p>
              <a:p>
                <a:pPr marL="171450" indent="-171450">
                  <a:buFont typeface="Wingdings" panose="05000000000000000000" pitchFamily="2" charset="2"/>
                  <a:buChar char="§"/>
                </a:pPr>
                <a:r>
                  <a:rPr lang="en-US" sz="1050" dirty="0">
                    <a:solidFill>
                      <a:schemeClr val="tx1"/>
                    </a:solidFill>
                    <a:latin typeface="Garamond" panose="02020404030301010803" pitchFamily="18" charset="0"/>
                  </a:rPr>
                  <a:t>Support time tracking</a:t>
                </a:r>
              </a:p>
              <a:p>
                <a:pPr marL="171450" indent="-171450">
                  <a:buFont typeface="Wingdings" panose="05000000000000000000" pitchFamily="2" charset="2"/>
                  <a:buChar char="§"/>
                </a:pPr>
                <a:r>
                  <a:rPr lang="en-US" sz="1050" dirty="0">
                    <a:solidFill>
                      <a:schemeClr val="tx1"/>
                    </a:solidFill>
                    <a:latin typeface="Garamond" panose="02020404030301010803" pitchFamily="18" charset="0"/>
                  </a:rPr>
                  <a:t>Project hours</a:t>
                </a:r>
              </a:p>
            </p:txBody>
          </p:sp>
          <p:sp>
            <p:nvSpPr>
              <p:cNvPr id="40" name="Rectangle 39"/>
              <p:cNvSpPr/>
              <p:nvPr/>
            </p:nvSpPr>
            <p:spPr>
              <a:xfrm>
                <a:off x="1933004" y="3220639"/>
                <a:ext cx="1645920" cy="1051560"/>
              </a:xfrm>
              <a:prstGeom prst="rect">
                <a:avLst/>
              </a:prstGeom>
              <a:solidFill>
                <a:schemeClr val="bg1">
                  <a:lumMod val="95000"/>
                </a:schemeClr>
              </a:solidFill>
              <a:ln w="2857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Wingdings" panose="05000000000000000000" pitchFamily="2" charset="2"/>
                  <a:buChar char="§"/>
                </a:pPr>
                <a:r>
                  <a:rPr lang="en-US" sz="1050" dirty="0">
                    <a:solidFill>
                      <a:schemeClr val="tx1"/>
                    </a:solidFill>
                    <a:latin typeface="Garamond" panose="02020404030301010803" pitchFamily="18" charset="0"/>
                  </a:rPr>
                  <a:t>List of ERP applications </a:t>
                </a:r>
              </a:p>
              <a:p>
                <a:pPr marL="171450" indent="-171450">
                  <a:buFont typeface="Wingdings" panose="05000000000000000000" pitchFamily="2" charset="2"/>
                  <a:buChar char="§"/>
                </a:pPr>
                <a:r>
                  <a:rPr lang="en-US" sz="1050" dirty="0">
                    <a:solidFill>
                      <a:schemeClr val="tx1"/>
                    </a:solidFill>
                    <a:latin typeface="Garamond" panose="02020404030301010803" pitchFamily="18" charset="0"/>
                  </a:rPr>
                  <a:t>Infrastructure estimates</a:t>
                </a:r>
              </a:p>
              <a:p>
                <a:pPr marL="171450" indent="-171450">
                  <a:buFont typeface="Wingdings" panose="05000000000000000000" pitchFamily="2" charset="2"/>
                  <a:buChar char="§"/>
                </a:pPr>
                <a:r>
                  <a:rPr lang="en-US" sz="1050" dirty="0">
                    <a:solidFill>
                      <a:schemeClr val="tx1"/>
                    </a:solidFill>
                    <a:latin typeface="Garamond" panose="02020404030301010803" pitchFamily="18" charset="0"/>
                  </a:rPr>
                  <a:t>Support estimates</a:t>
                </a:r>
              </a:p>
            </p:txBody>
          </p:sp>
          <p:sp>
            <p:nvSpPr>
              <p:cNvPr id="41" name="Rectangle 40"/>
              <p:cNvSpPr/>
              <p:nvPr/>
            </p:nvSpPr>
            <p:spPr>
              <a:xfrm>
                <a:off x="6864771" y="3220639"/>
                <a:ext cx="1645920" cy="1051560"/>
              </a:xfrm>
              <a:prstGeom prst="rect">
                <a:avLst/>
              </a:prstGeom>
              <a:solidFill>
                <a:schemeClr val="bg1">
                  <a:lumMod val="95000"/>
                </a:schemeClr>
              </a:solidFill>
              <a:ln w="2857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Wingdings" panose="05000000000000000000" pitchFamily="2" charset="2"/>
                  <a:buChar char="§"/>
                </a:pPr>
                <a:r>
                  <a:rPr lang="en-US" sz="1050" dirty="0">
                    <a:solidFill>
                      <a:schemeClr val="tx1"/>
                    </a:solidFill>
                    <a:latin typeface="Garamond" panose="02020404030301010803" pitchFamily="18" charset="0"/>
                  </a:rPr>
                  <a:t>Inventory of corporate applications </a:t>
                </a:r>
              </a:p>
              <a:p>
                <a:pPr marL="171450" indent="-171450">
                  <a:buFont typeface="Wingdings" panose="05000000000000000000" pitchFamily="2" charset="2"/>
                  <a:buChar char="§"/>
                </a:pPr>
                <a:r>
                  <a:rPr lang="en-US" sz="1050" dirty="0">
                    <a:solidFill>
                      <a:schemeClr val="tx1"/>
                    </a:solidFill>
                    <a:latin typeface="Garamond" panose="02020404030301010803" pitchFamily="18" charset="0"/>
                  </a:rPr>
                  <a:t>Server counts and storage estimates (%)</a:t>
                </a:r>
              </a:p>
              <a:p>
                <a:pPr marL="171450" indent="-171450">
                  <a:buFont typeface="Wingdings" panose="05000000000000000000" pitchFamily="2" charset="2"/>
                  <a:buChar char="§"/>
                </a:pPr>
                <a:r>
                  <a:rPr lang="en-US" sz="1050" dirty="0">
                    <a:solidFill>
                      <a:schemeClr val="tx1"/>
                    </a:solidFill>
                    <a:latin typeface="Garamond" panose="02020404030301010803" pitchFamily="18" charset="0"/>
                  </a:rPr>
                  <a:t>Support estimates (%)</a:t>
                </a:r>
              </a:p>
            </p:txBody>
          </p:sp>
          <p:sp>
            <p:nvSpPr>
              <p:cNvPr id="42" name="Rectangle 41"/>
              <p:cNvSpPr/>
              <p:nvPr/>
            </p:nvSpPr>
            <p:spPr>
              <a:xfrm>
                <a:off x="5223161" y="2177745"/>
                <a:ext cx="1645920" cy="1051560"/>
              </a:xfrm>
              <a:prstGeom prst="rect">
                <a:avLst/>
              </a:prstGeom>
              <a:solidFill>
                <a:schemeClr val="bg1">
                  <a:lumMod val="95000"/>
                </a:schemeClr>
              </a:solidFill>
              <a:ln w="2857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Wingdings" panose="05000000000000000000" pitchFamily="2" charset="2"/>
                  <a:buChar char="§"/>
                </a:pPr>
                <a:r>
                  <a:rPr lang="en-US" sz="1050" dirty="0">
                    <a:solidFill>
                      <a:schemeClr val="tx1"/>
                    </a:solidFill>
                    <a:latin typeface="Garamond" panose="02020404030301010803" pitchFamily="18" charset="0"/>
                  </a:rPr>
                  <a:t>Inventory of all end user devices</a:t>
                </a:r>
              </a:p>
              <a:p>
                <a:pPr marL="171450" indent="-171450">
                  <a:buFont typeface="Wingdings" panose="05000000000000000000" pitchFamily="2" charset="2"/>
                  <a:buChar char="§"/>
                </a:pPr>
                <a:r>
                  <a:rPr lang="en-US" sz="1050" dirty="0">
                    <a:solidFill>
                      <a:schemeClr val="tx1"/>
                    </a:solidFill>
                    <a:latin typeface="Garamond" panose="02020404030301010803" pitchFamily="18" charset="0"/>
                  </a:rPr>
                  <a:t>Inventory of all workplace apps</a:t>
                </a:r>
              </a:p>
              <a:p>
                <a:pPr marL="171450" indent="-171450">
                  <a:buFont typeface="Wingdings" panose="05000000000000000000" pitchFamily="2" charset="2"/>
                  <a:buChar char="§"/>
                </a:pPr>
                <a:r>
                  <a:rPr lang="en-US" sz="1050" dirty="0">
                    <a:solidFill>
                      <a:schemeClr val="tx1"/>
                    </a:solidFill>
                    <a:latin typeface="Garamond" panose="02020404030301010803" pitchFamily="18" charset="0"/>
                  </a:rPr>
                  <a:t>Server counts and storage estimates (%)</a:t>
                </a:r>
              </a:p>
              <a:p>
                <a:pPr marL="171450" indent="-171450">
                  <a:buFont typeface="Wingdings" panose="05000000000000000000" pitchFamily="2" charset="2"/>
                  <a:buChar char="§"/>
                </a:pPr>
                <a:r>
                  <a:rPr lang="en-US" sz="1050" dirty="0">
                    <a:solidFill>
                      <a:schemeClr val="tx1"/>
                    </a:solidFill>
                    <a:latin typeface="Garamond" panose="02020404030301010803" pitchFamily="18" charset="0"/>
                  </a:rPr>
                  <a:t>Support estimates (%)</a:t>
                </a:r>
              </a:p>
            </p:txBody>
          </p:sp>
          <p:sp>
            <p:nvSpPr>
              <p:cNvPr id="43" name="TextBox 42"/>
              <p:cNvSpPr txBox="1"/>
              <p:nvPr/>
            </p:nvSpPr>
            <p:spPr>
              <a:xfrm>
                <a:off x="5314186" y="4278272"/>
                <a:ext cx="1463880" cy="225584"/>
              </a:xfrm>
              <a:prstGeom prst="rect">
                <a:avLst/>
              </a:prstGeom>
              <a:noFill/>
            </p:spPr>
            <p:txBody>
              <a:bodyPr wrap="none" rtlCol="0">
                <a:spAutoFit/>
              </a:bodyPr>
              <a:lstStyle/>
              <a:p>
                <a:pPr algn="ctr"/>
                <a:r>
                  <a:rPr lang="en-US" sz="1100" b="1" dirty="0">
                    <a:latin typeface="Garamond" panose="02020404030301010803" pitchFamily="18" charset="0"/>
                  </a:rPr>
                  <a:t>Workplace Services</a:t>
                </a:r>
              </a:p>
            </p:txBody>
          </p:sp>
          <p:sp>
            <p:nvSpPr>
              <p:cNvPr id="44" name="Rectangle 43"/>
              <p:cNvSpPr/>
              <p:nvPr/>
            </p:nvSpPr>
            <p:spPr>
              <a:xfrm>
                <a:off x="5223161" y="1125358"/>
                <a:ext cx="1645920" cy="1051560"/>
              </a:xfrm>
              <a:prstGeom prst="rect">
                <a:avLst/>
              </a:prstGeom>
              <a:solidFill>
                <a:schemeClr val="bg1">
                  <a:lumMod val="95000"/>
                </a:schemeClr>
              </a:solidFill>
              <a:ln w="2857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Wingdings" panose="05000000000000000000" pitchFamily="2" charset="2"/>
                  <a:buChar char="§"/>
                </a:pPr>
                <a:r>
                  <a:rPr lang="en-US" sz="1050" dirty="0">
                    <a:solidFill>
                      <a:schemeClr val="tx1"/>
                    </a:solidFill>
                    <a:latin typeface="Garamond" panose="02020404030301010803" pitchFamily="18" charset="0"/>
                  </a:rPr>
                  <a:t>Inventory of all end user devices</a:t>
                </a:r>
              </a:p>
              <a:p>
                <a:pPr marL="171450" indent="-171450">
                  <a:buFont typeface="Wingdings" panose="05000000000000000000" pitchFamily="2" charset="2"/>
                  <a:buChar char="§"/>
                </a:pPr>
                <a:r>
                  <a:rPr lang="en-US" sz="1050" dirty="0">
                    <a:solidFill>
                      <a:schemeClr val="tx1"/>
                    </a:solidFill>
                    <a:latin typeface="Garamond" panose="02020404030301010803" pitchFamily="18" charset="0"/>
                  </a:rPr>
                  <a:t>Inventory of apps</a:t>
                </a:r>
              </a:p>
              <a:p>
                <a:pPr marL="171450" indent="-171450">
                  <a:buFont typeface="Wingdings" panose="05000000000000000000" pitchFamily="2" charset="2"/>
                  <a:buChar char="§"/>
                </a:pPr>
                <a:r>
                  <a:rPr lang="en-US" sz="1050" dirty="0">
                    <a:solidFill>
                      <a:schemeClr val="tx1"/>
                    </a:solidFill>
                    <a:latin typeface="Garamond" panose="02020404030301010803" pitchFamily="18" charset="0"/>
                  </a:rPr>
                  <a:t>Infra mappings</a:t>
                </a:r>
              </a:p>
              <a:p>
                <a:pPr marL="171450" indent="-171450">
                  <a:buFont typeface="Wingdings" panose="05000000000000000000" pitchFamily="2" charset="2"/>
                  <a:buChar char="§"/>
                </a:pPr>
                <a:r>
                  <a:rPr lang="en-US" sz="1050" dirty="0">
                    <a:solidFill>
                      <a:schemeClr val="tx1"/>
                    </a:solidFill>
                    <a:latin typeface="Garamond" panose="02020404030301010803" pitchFamily="18" charset="0"/>
                  </a:rPr>
                  <a:t>Network mappings, including WAN links</a:t>
                </a:r>
              </a:p>
              <a:p>
                <a:pPr marL="171450" indent="-171450">
                  <a:buFont typeface="Wingdings" panose="05000000000000000000" pitchFamily="2" charset="2"/>
                  <a:buChar char="§"/>
                </a:pPr>
                <a:r>
                  <a:rPr lang="en-US" sz="1050" dirty="0">
                    <a:solidFill>
                      <a:schemeClr val="tx1"/>
                    </a:solidFill>
                    <a:latin typeface="Garamond" panose="02020404030301010803" pitchFamily="18" charset="0"/>
                  </a:rPr>
                  <a:t>Support time tracking</a:t>
                </a:r>
              </a:p>
            </p:txBody>
          </p:sp>
          <p:sp>
            <p:nvSpPr>
              <p:cNvPr id="45" name="Rectangle 44"/>
              <p:cNvSpPr/>
              <p:nvPr/>
            </p:nvSpPr>
            <p:spPr>
              <a:xfrm>
                <a:off x="5223161" y="3220639"/>
                <a:ext cx="1645920" cy="1051560"/>
              </a:xfrm>
              <a:prstGeom prst="rect">
                <a:avLst/>
              </a:prstGeom>
              <a:solidFill>
                <a:schemeClr val="bg1">
                  <a:lumMod val="95000"/>
                </a:schemeClr>
              </a:solidFill>
              <a:ln w="2857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Wingdings" panose="05000000000000000000" pitchFamily="2" charset="2"/>
                  <a:buChar char="§"/>
                </a:pPr>
                <a:r>
                  <a:rPr lang="en-US" sz="1050" dirty="0">
                    <a:solidFill>
                      <a:schemeClr val="tx1"/>
                    </a:solidFill>
                    <a:latin typeface="Garamond" panose="02020404030301010803" pitchFamily="18" charset="0"/>
                  </a:rPr>
                  <a:t>Inventory of desktops and laptops</a:t>
                </a:r>
              </a:p>
              <a:p>
                <a:pPr marL="171450" indent="-171450">
                  <a:buFont typeface="Wingdings" panose="05000000000000000000" pitchFamily="2" charset="2"/>
                  <a:buChar char="§"/>
                </a:pPr>
                <a:r>
                  <a:rPr lang="en-US" sz="1050" dirty="0">
                    <a:solidFill>
                      <a:schemeClr val="tx1"/>
                    </a:solidFill>
                    <a:latin typeface="Garamond" panose="02020404030301010803" pitchFamily="18" charset="0"/>
                  </a:rPr>
                  <a:t>Office &amp; other workplace apps</a:t>
                </a:r>
              </a:p>
              <a:p>
                <a:pPr marL="171450" indent="-171450">
                  <a:buFont typeface="Wingdings" panose="05000000000000000000" pitchFamily="2" charset="2"/>
                  <a:buChar char="§"/>
                </a:pPr>
                <a:r>
                  <a:rPr lang="en-US" sz="1050" dirty="0">
                    <a:solidFill>
                      <a:schemeClr val="tx1"/>
                    </a:solidFill>
                    <a:latin typeface="Garamond" panose="02020404030301010803" pitchFamily="18" charset="0"/>
                  </a:rPr>
                  <a:t>Server counts and storage estimates (%)</a:t>
                </a:r>
              </a:p>
              <a:p>
                <a:pPr marL="171450" indent="-171450">
                  <a:buFont typeface="Wingdings" panose="05000000000000000000" pitchFamily="2" charset="2"/>
                  <a:buChar char="§"/>
                </a:pPr>
                <a:r>
                  <a:rPr lang="en-US" sz="1050" dirty="0">
                    <a:solidFill>
                      <a:schemeClr val="tx1"/>
                    </a:solidFill>
                    <a:latin typeface="Garamond" panose="02020404030301010803" pitchFamily="18" charset="0"/>
                  </a:rPr>
                  <a:t>Support estimates (%)</a:t>
                </a:r>
              </a:p>
            </p:txBody>
          </p:sp>
        </p:grpSp>
      </p:grpSp>
    </p:spTree>
    <p:extLst>
      <p:ext uri="{BB962C8B-B14F-4D97-AF65-F5344CB8AC3E}">
        <p14:creationId xmlns:p14="http://schemas.microsoft.com/office/powerpoint/2010/main" val="1040952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Logo"/>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14RTaAjHyEygaBEjBnBUjg"/>
</p:tagLst>
</file>

<file path=ppt/tags/tag6.xml><?xml version="1.0" encoding="utf-8"?>
<p:tagLst xmlns:a="http://schemas.openxmlformats.org/drawingml/2006/main" xmlns:r="http://schemas.openxmlformats.org/officeDocument/2006/relationships" xmlns:p="http://schemas.openxmlformats.org/presentationml/2006/main">
  <p:tag name="NAME" val="Logo"/>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Apptio PowerPoint Calibri">
  <a:themeElements>
    <a:clrScheme name="TBM Council">
      <a:dk1>
        <a:srgbClr val="1E1F21"/>
      </a:dk1>
      <a:lt1>
        <a:srgbClr val="FFFFFF"/>
      </a:lt1>
      <a:dk2>
        <a:srgbClr val="22424E"/>
      </a:dk2>
      <a:lt2>
        <a:srgbClr val="DEDDDD"/>
      </a:lt2>
      <a:accent1>
        <a:srgbClr val="0D96C9"/>
      </a:accent1>
      <a:accent2>
        <a:srgbClr val="7E848B"/>
      </a:accent2>
      <a:accent3>
        <a:srgbClr val="F89838"/>
      </a:accent3>
      <a:accent4>
        <a:srgbClr val="F26724"/>
      </a:accent4>
      <a:accent5>
        <a:srgbClr val="9CDDF8"/>
      </a:accent5>
      <a:accent6>
        <a:srgbClr val="7DBA41"/>
      </a:accent6>
      <a:hlink>
        <a:srgbClr val="0D96C9"/>
      </a:hlink>
      <a:folHlink>
        <a:srgbClr val="43546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spPr>
      <a:bodyPr wrap="square" rtlCol="0" anchor="ctr">
        <a:noAutofit/>
      </a:bodyPr>
      <a:lstStyle>
        <a:defPPr algn="ctr">
          <a:defRPr dirty="0" err="1" smtClean="0">
            <a:solidFill>
              <a:schemeClr val="bg1"/>
            </a:solidFill>
            <a:latin typeface="+mn-lt"/>
          </a:defRPr>
        </a:defPPr>
      </a:lstStyle>
    </a:spDef>
    <a:lnDef>
      <a:spPr>
        <a:ln w="12700">
          <a:solidFill>
            <a:schemeClr val="tx1"/>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45720" rIns="45720"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TBM Council PPT Template.potx [Read-Only]" id="{E5EE94F0-14A3-4E4B-BDD4-26B914295DE1}" vid="{D847FC54-354E-4BDB-A285-0E740A9F49F9}"/>
    </a:ext>
  </a:extLst>
</a:theme>
</file>

<file path=ppt/theme/theme2.xml><?xml version="1.0" encoding="utf-8"?>
<a:theme xmlns:a="http://schemas.openxmlformats.org/drawingml/2006/main" name="KPMG Widescreen Standard Template">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KPMG Theme">
      <a:majorFont>
        <a:latin typeface="Arial"/>
        <a:ea typeface=""/>
        <a:cs typeface=""/>
      </a:majorFont>
      <a:minorFont>
        <a:latin typeface="Arial"/>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rtlCol="0" anchor="ctr"/>
      <a:lstStyle>
        <a:defPPr algn="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err="1" smtClean="0"/>
        </a:defPPr>
      </a:lstStyle>
    </a:txDef>
  </a:objectDefaults>
  <a:extraClrSchemeLst>
    <a:extraClrScheme>
      <a:clrScheme name="2003 CREATE SCREEN 1">
        <a:dk1>
          <a:srgbClr val="007C92"/>
        </a:dk1>
        <a:lt1>
          <a:srgbClr val="FFFFFF"/>
        </a:lt1>
        <a:dk2>
          <a:srgbClr val="000000"/>
        </a:dk2>
        <a:lt2>
          <a:srgbClr val="747678"/>
        </a:lt2>
        <a:accent1>
          <a:srgbClr val="8E258D"/>
        </a:accent1>
        <a:accent2>
          <a:srgbClr val="A79E70"/>
        </a:accent2>
        <a:accent3>
          <a:srgbClr val="AAAAAA"/>
        </a:accent3>
        <a:accent4>
          <a:srgbClr val="DADADA"/>
        </a:accent4>
        <a:accent5>
          <a:srgbClr val="C6ACC5"/>
        </a:accent5>
        <a:accent6>
          <a:srgbClr val="978F65"/>
        </a:accent6>
        <a:hlink>
          <a:srgbClr val="007C92"/>
        </a:hlink>
        <a:folHlink>
          <a:srgbClr val="8E258D"/>
        </a:folHlink>
      </a:clrScheme>
      <a:clrMap bg1="dk2" tx1="lt1" bg2="dk1" tx2="lt2" accent1="accent1" accent2="accent2" accent3="accent3" accent4="accent4" accent5="accent5" accent6="accent6" hlink="hlink" folHlink="folHlink"/>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extLst>
    <a:ext uri="{05A4C25C-085E-4340-85A3-A5531E510DB2}">
      <thm15:themeFamily xmlns:thm15="http://schemas.microsoft.com/office/thememl/2012/main" name="KPMG Widescreen template.pptx" id="{841FF9CD-4EE8-42A1-8461-C381863192FC}" vid="{3DE10ECA-3DD7-4FFD-AF5E-C6CE32E915D4}"/>
    </a:ext>
  </a:extLst>
</a:theme>
</file>

<file path=ppt/theme/theme3.xml><?xml version="1.0" encoding="utf-8"?>
<a:theme xmlns:a="http://schemas.openxmlformats.org/drawingml/2006/main" name="Firm Format - English (US)">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English (US).potx" id="{04F4158E-B82F-4005-BC45-DDA695879C64}" vid="{E11D8FF4-BD1A-4D1E-85C9-98B2B42913B9}"/>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3.xml><?xml version="1.0" encoding="utf-8"?>
<p:properties xmlns:p="http://schemas.microsoft.com/office/2006/metadata/properties" xmlns:xsi="http://www.w3.org/2001/XMLSchema-instance" xmlns:pc="http://schemas.microsoft.com/office/infopath/2007/PartnerControls">
  <documentManagement>
    <Document_x0020_Owner xmlns="ba0af191-96d6-431e-a940-60ab1a986c9e">
      <UserInfo>
        <DisplayName>Mark Jones</DisplayName>
        <AccountId>230</AccountId>
        <AccountType/>
      </UserInfo>
    </Document_x0020_Owner>
    <Description0 xmlns="ba0af191-96d6-431e-a940-60ab1a986c9e">PowerPoint template to be used to create Apptio-branded presentations. Reversible to either dark or light themes.</Description0>
    <Archive_x0020_Date xmlns="ba0af191-96d6-431e-a940-60ab1a986c9e">2016-06-17T07:00:00+00:00</Archive_x0020_Date>
    <o3edef5abc7744aba017910ddfaab1c2 xmlns="ba0af191-96d6-431e-a940-60ab1a986c9e">
      <Terms xmlns="http://schemas.microsoft.com/office/infopath/2007/PartnerControls">
        <TermInfo xmlns="http://schemas.microsoft.com/office/infopath/2007/PartnerControls">
          <TermName xmlns="http://schemas.microsoft.com/office/infopath/2007/PartnerControls">Internal Only</TermName>
          <TermId xmlns="http://schemas.microsoft.com/office/infopath/2007/PartnerControls">a2e37386-5e81-4128-b303-128d081904b4</TermId>
        </TermInfo>
      </Terms>
    </o3edef5abc7744aba017910ddfaab1c2>
    <_dlc_DocId xmlns="e3061320-f951-40ec-bac8-130e0c6ab66c">5E5HW5YW4R7M-265-13</_dlc_DocId>
    <kd74214b69404bc590f584da4be21e40 xmlns="ba0af191-96d6-431e-a940-60ab1a986c9e">
      <Terms xmlns="http://schemas.microsoft.com/office/infopath/2007/PartnerControls">
        <TermInfo xmlns="http://schemas.microsoft.com/office/infopath/2007/PartnerControls">
          <TermName xmlns="http://schemas.microsoft.com/office/infopath/2007/PartnerControls">Template</TermName>
          <TermId xmlns="http://schemas.microsoft.com/office/infopath/2007/PartnerControls">89d68c06-f4a2-4368-9e79-eea7d3731822</TermId>
        </TermInfo>
      </Terms>
    </kd74214b69404bc590f584da4be21e40>
    <_dlc_DocIdUrl xmlns="e3061320-f951-40ec-bac8-130e0c6ab66c">
      <Url>https://influence.apptio.com/Divisions/Corporate-Marketing/_layouts/15/DocIdRedir.aspx?ID=5E5HW5YW4R7M-265-13</Url>
      <Description>5E5HW5YW4R7M-265-13</Description>
    </_dlc_DocIdUrl>
    <TaxCatchAll xmlns="e3061320-f951-40ec-bac8-130e0c6ab66c">
      <Value>39</Value>
      <Value>44</Value>
      <Value>35</Value>
    </TaxCatchAll>
    <f8f8a4ecbfe24325b35d8e1d93f66628 xmlns="ba0af191-96d6-431e-a940-60ab1a986c9e">
      <Terms xmlns="http://schemas.microsoft.com/office/infopath/2007/PartnerControls">
        <TermInfo xmlns="http://schemas.microsoft.com/office/infopath/2007/PartnerControls">
          <TermName xmlns="http://schemas.microsoft.com/office/infopath/2007/PartnerControls">Published</TermName>
          <TermId xmlns="http://schemas.microsoft.com/office/infopath/2007/PartnerControls">e5aeccb0-75e5-4590-aed1-6c148212d739</TermId>
        </TermInfo>
      </Terms>
    </f8f8a4ecbfe24325b35d8e1d93f66628>
  </documentManagement>
</p:properties>
</file>

<file path=customXml/item4.xml><?xml version="1.0" encoding="utf-8"?>
<ct:contentTypeSchema xmlns:ct="http://schemas.microsoft.com/office/2006/metadata/contentType" xmlns:ma="http://schemas.microsoft.com/office/2006/metadata/properties/metaAttributes" ct:_="" ma:_="" ma:contentTypeName="Document" ma:contentTypeID="0x0101009A9E81ADDF92A34D96DAC128E710346F" ma:contentTypeVersion="11" ma:contentTypeDescription="Create a new document." ma:contentTypeScope="" ma:versionID="37ffb2bb584c017023dec4a611865306">
  <xsd:schema xmlns:xsd="http://www.w3.org/2001/XMLSchema" xmlns:xs="http://www.w3.org/2001/XMLSchema" xmlns:p="http://schemas.microsoft.com/office/2006/metadata/properties" xmlns:ns2="e3061320-f951-40ec-bac8-130e0c6ab66c" xmlns:ns3="ba0af191-96d6-431e-a940-60ab1a986c9e" targetNamespace="http://schemas.microsoft.com/office/2006/metadata/properties" ma:root="true" ma:fieldsID="3e28b2983ca01e99a9511806012d9a7a" ns2:_="" ns3:_="">
    <xsd:import namespace="e3061320-f951-40ec-bac8-130e0c6ab66c"/>
    <xsd:import namespace="ba0af191-96d6-431e-a940-60ab1a986c9e"/>
    <xsd:element name="properties">
      <xsd:complexType>
        <xsd:sequence>
          <xsd:element name="documentManagement">
            <xsd:complexType>
              <xsd:all>
                <xsd:element ref="ns2:_dlc_DocId" minOccurs="0"/>
                <xsd:element ref="ns2:_dlc_DocIdUrl" minOccurs="0"/>
                <xsd:element ref="ns2:_dlc_DocIdPersistId" minOccurs="0"/>
                <xsd:element ref="ns3:Archive_x0020_Date"/>
                <xsd:element ref="ns3:Document_x0020_Owner"/>
                <xsd:element ref="ns3:kd74214b69404bc590f584da4be21e40" minOccurs="0"/>
                <xsd:element ref="ns2:TaxCatchAll" minOccurs="0"/>
                <xsd:element ref="ns3:f8f8a4ecbfe24325b35d8e1d93f66628" minOccurs="0"/>
                <xsd:element ref="ns3:o3edef5abc7744aba017910ddfaab1c2" minOccurs="0"/>
                <xsd:element ref="ns3:Description0"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3061320-f951-40ec-bac8-130e0c6ab66c"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TaxCatchAll" ma:index="15" nillable="true" ma:displayName="Taxonomy Catch All Column" ma:hidden="true" ma:list="{4b55081f-89e2-4168-9618-c8acfa9c5bca}" ma:internalName="TaxCatchAll" ma:showField="CatchAllData" ma:web="e3061320-f951-40ec-bac8-130e0c6ab66c">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ba0af191-96d6-431e-a940-60ab1a986c9e" elementFormDefault="qualified">
    <xsd:import namespace="http://schemas.microsoft.com/office/2006/documentManagement/types"/>
    <xsd:import namespace="http://schemas.microsoft.com/office/infopath/2007/PartnerControls"/>
    <xsd:element name="Archive_x0020_Date" ma:index="11" ma:displayName="Archive Date" ma:format="DateOnly" ma:internalName="Archive_x0020_Date">
      <xsd:simpleType>
        <xsd:restriction base="dms:DateTime"/>
      </xsd:simpleType>
    </xsd:element>
    <xsd:element name="Document_x0020_Owner" ma:index="12" ma:displayName="Document Owner" ma:list="UserInfo" ma:SharePointGroup="0" ma:internalName="Docum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kd74214b69404bc590f584da4be21e40" ma:index="14" ma:taxonomy="true" ma:internalName="kd74214b69404bc590f584da4be21e40" ma:taxonomyFieldName="Document_x0020_Type" ma:displayName="Document Type" ma:default="" ma:fieldId="{4d74214b-6940-4bc5-90f5-84da4be21e40}" ma:sspId="7cc75491-454d-476f-bed8-5dd42e9a9cca" ma:termSetId="5ce0d04a-25a6-42ea-854d-a74b7011a64a" ma:anchorId="00000000-0000-0000-0000-000000000000" ma:open="false" ma:isKeyword="false">
      <xsd:complexType>
        <xsd:sequence>
          <xsd:element ref="pc:Terms" minOccurs="0" maxOccurs="1"/>
        </xsd:sequence>
      </xsd:complexType>
    </xsd:element>
    <xsd:element name="f8f8a4ecbfe24325b35d8e1d93f66628" ma:index="17" ma:taxonomy="true" ma:internalName="f8f8a4ecbfe24325b35d8e1d93f66628" ma:taxonomyFieldName="Document_x0020_Status" ma:displayName="Document Status" ma:default="" ma:fieldId="{f8f8a4ec-bfe2-4325-b35d-8e1d93f66628}" ma:sspId="7cc75491-454d-476f-bed8-5dd42e9a9cca" ma:termSetId="ba51c935-c9ca-4095-80d3-805818a7b37b" ma:anchorId="00000000-0000-0000-0000-000000000000" ma:open="false" ma:isKeyword="false">
      <xsd:complexType>
        <xsd:sequence>
          <xsd:element ref="pc:Terms" minOccurs="0" maxOccurs="1"/>
        </xsd:sequence>
      </xsd:complexType>
    </xsd:element>
    <xsd:element name="o3edef5abc7744aba017910ddfaab1c2" ma:index="19" ma:taxonomy="true" ma:internalName="o3edef5abc7744aba017910ddfaab1c2" ma:taxonomyFieldName="Audience" ma:displayName="Audience" ma:readOnly="false" ma:default="" ma:fieldId="{83edef5a-bc77-44ab-a017-910ddfaab1c2}" ma:taxonomyMulti="true" ma:sspId="7cc75491-454d-476f-bed8-5dd42e9a9cca" ma:termSetId="f25639e9-32fa-4101-9b34-d7e02392ec7b" ma:anchorId="00000000-0000-0000-0000-000000000000" ma:open="false" ma:isKeyword="false">
      <xsd:complexType>
        <xsd:sequence>
          <xsd:element ref="pc:Terms" minOccurs="0" maxOccurs="1"/>
        </xsd:sequence>
      </xsd:complexType>
    </xsd:element>
    <xsd:element name="Description0" ma:index="20" nillable="true" ma:displayName="Description" ma:internalName="Description0">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78D9B1C-BB70-400F-8FCB-FC774F905D46}">
  <ds:schemaRefs>
    <ds:schemaRef ds:uri="http://schemas.microsoft.com/sharepoint/v3/contenttype/forms"/>
  </ds:schemaRefs>
</ds:datastoreItem>
</file>

<file path=customXml/itemProps2.xml><?xml version="1.0" encoding="utf-8"?>
<ds:datastoreItem xmlns:ds="http://schemas.openxmlformats.org/officeDocument/2006/customXml" ds:itemID="{F2904773-0573-4C3C-8797-3F1BE08CC542}">
  <ds:schemaRefs>
    <ds:schemaRef ds:uri="http://schemas.microsoft.com/sharepoint/events"/>
  </ds:schemaRefs>
</ds:datastoreItem>
</file>

<file path=customXml/itemProps3.xml><?xml version="1.0" encoding="utf-8"?>
<ds:datastoreItem xmlns:ds="http://schemas.openxmlformats.org/officeDocument/2006/customXml" ds:itemID="{7F251212-D285-4887-9F6A-E55A42F54BCC}">
  <ds:schemaRefs>
    <ds:schemaRef ds:uri="http://purl.org/dc/terms/"/>
    <ds:schemaRef ds:uri="http://schemas.microsoft.com/office/2006/documentManagement/types"/>
    <ds:schemaRef ds:uri="e3061320-f951-40ec-bac8-130e0c6ab66c"/>
    <ds:schemaRef ds:uri="ba0af191-96d6-431e-a940-60ab1a986c9e"/>
    <ds:schemaRef ds:uri="http://purl.org/dc/elements/1.1/"/>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http://purl.org/dc/dcmitype/"/>
  </ds:schemaRefs>
</ds:datastoreItem>
</file>

<file path=customXml/itemProps4.xml><?xml version="1.0" encoding="utf-8"?>
<ds:datastoreItem xmlns:ds="http://schemas.openxmlformats.org/officeDocument/2006/customXml" ds:itemID="{D790BD34-0AED-4DAA-8E04-ABC6E3141D2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3061320-f951-40ec-bac8-130e0c6ab66c"/>
    <ds:schemaRef ds:uri="ba0af191-96d6-431e-a940-60ab1a986c9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TBMCouncil_2016_PPT_Template</Template>
  <TotalTime>4877</TotalTime>
  <Words>1870</Words>
  <Application>Microsoft Office PowerPoint</Application>
  <PresentationFormat>On-screen Show (16:9)</PresentationFormat>
  <Paragraphs>336</Paragraphs>
  <Slides>21</Slides>
  <Notes>4</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21</vt:i4>
      </vt:variant>
    </vt:vector>
  </HeadingPairs>
  <TitlesOfParts>
    <vt:vector size="35" baseType="lpstr">
      <vt:lpstr>Arial</vt:lpstr>
      <vt:lpstr>Avenir Book</vt:lpstr>
      <vt:lpstr>Avenir LT Std 55 Roman</vt:lpstr>
      <vt:lpstr>Calibri</vt:lpstr>
      <vt:lpstr>Garamond</vt:lpstr>
      <vt:lpstr>Helvetica Neue</vt:lpstr>
      <vt:lpstr>Roboto Condensed</vt:lpstr>
      <vt:lpstr>Times New Roman</vt:lpstr>
      <vt:lpstr>Wingdings</vt:lpstr>
      <vt:lpstr>Wingdings 3</vt:lpstr>
      <vt:lpstr>Apptio PowerPoint Calibri</vt:lpstr>
      <vt:lpstr>KPMG Widescreen Standard Template</vt:lpstr>
      <vt:lpstr>Firm Format - English (US)</vt:lpstr>
      <vt:lpstr>think-cell Slide</vt:lpstr>
      <vt:lpstr>Technology Business Management Framework</vt:lpstr>
      <vt:lpstr>Copyright ©2018 Technology Business Management Council, Ltd.</vt:lpstr>
      <vt:lpstr>PowerPoint Presentation</vt:lpstr>
      <vt:lpstr>PowerPoint Presentation</vt:lpstr>
      <vt:lpstr>TBM Framework</vt:lpstr>
      <vt:lpstr>The Four Types of Value Conversations</vt:lpstr>
      <vt:lpstr>Position for Value What is your Technology Business Model and are you aligned to do it?</vt:lpstr>
      <vt:lpstr>Create Transparency How do you empower tradeoff decisions based on facts?</vt:lpstr>
      <vt:lpstr>What About the Data Needed for Modeling?</vt:lpstr>
      <vt:lpstr>Cost-for-Performance How do you improve cost-for-performance in light of business value?</vt:lpstr>
      <vt:lpstr>Business-Aligned Portfolio How do you align IT spending and investments with business priorities?</vt:lpstr>
      <vt:lpstr>Investing in Innovation How do you get more value from your innovation investments?</vt:lpstr>
      <vt:lpstr>Investing in Innovation Protecting Program Funds</vt:lpstr>
      <vt:lpstr>Enterprise Agility How do you improve speed-to-market and responsiveness to new demands?</vt:lpstr>
      <vt:lpstr>Metrics &amp; Key Performance Indicators</vt:lpstr>
      <vt:lpstr>PowerPoint Presentation</vt:lpstr>
      <vt:lpstr>PowerPoint Presentation</vt:lpstr>
      <vt:lpstr>PowerPoint Presentation</vt:lpstr>
      <vt:lpstr>PowerPoint Presentation</vt:lpstr>
      <vt:lpstr>PowerPoint Presentation</vt:lpstr>
      <vt:lpstr>For more, become a member at TBMCouncil.org</vt:lpstr>
    </vt:vector>
  </TitlesOfParts>
  <Company>Technology Business Management Council, Ltd.</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BM Overview for OGBG</dc:title>
  <dc:subject/>
  <dc:creator>Todd Tucker</dc:creator>
  <cp:keywords>TBM Council</cp:keywords>
  <dc:description/>
  <cp:lastModifiedBy>Todd Tucker</cp:lastModifiedBy>
  <cp:revision>131</cp:revision>
  <cp:lastPrinted>2016-04-22T15:19:02Z</cp:lastPrinted>
  <dcterms:created xsi:type="dcterms:W3CDTF">2016-03-10T01:46:53Z</dcterms:created>
  <dcterms:modified xsi:type="dcterms:W3CDTF">2018-04-23T15:52: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 Version">
    <vt:r8>2.5</vt:r8>
  </property>
  <property fmtid="{D5CDD505-2E9C-101B-9397-08002B2CF9AE}" pid="3" name="ContentTypeId">
    <vt:lpwstr>0x0101009A9E81ADDF92A34D96DAC128E710346F</vt:lpwstr>
  </property>
  <property fmtid="{D5CDD505-2E9C-101B-9397-08002B2CF9AE}" pid="4" name="Document Type">
    <vt:lpwstr>44;#Template|89d68c06-f4a2-4368-9e79-eea7d3731822</vt:lpwstr>
  </property>
  <property fmtid="{D5CDD505-2E9C-101B-9397-08002B2CF9AE}" pid="5" name="Audience">
    <vt:lpwstr>39;#Internal Only|a2e37386-5e81-4128-b303-128d081904b4</vt:lpwstr>
  </property>
  <property fmtid="{D5CDD505-2E9C-101B-9397-08002B2CF9AE}" pid="6" name="_dlc_DocIdItemGuid">
    <vt:lpwstr>915fcd43-391e-48eb-b14c-57c9701b4634</vt:lpwstr>
  </property>
  <property fmtid="{D5CDD505-2E9C-101B-9397-08002B2CF9AE}" pid="7" name="Document Status">
    <vt:lpwstr>35;#Published|e5aeccb0-75e5-4590-aed1-6c148212d739</vt:lpwstr>
  </property>
</Properties>
</file>